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notesSlides/notesSlide9.xml" ContentType="application/vnd.openxmlformats-officedocument.presentationml.notesSlide+xml"/>
  <Override PartName="/ppt/ink/ink4.xml" ContentType="application/inkml+xml"/>
  <Override PartName="/ppt/ink/ink5.xml" ContentType="application/inkml+xml"/>
  <Override PartName="/ppt/ink/ink6.xml" ContentType="application/inkml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.xml" ContentType="application/vnd.openxmlformats-officedocument.presentationml.tags+xml"/>
  <Override PartName="/ppt/notesSlides/notesSlide12.xml" ContentType="application/vnd.openxmlformats-officedocument.presentationml.notesSlide+xml"/>
  <Override PartName="/ppt/tags/tag4.xml" ContentType="application/vnd.openxmlformats-officedocument.presentationml.tags+xml"/>
  <Override PartName="/ppt/notesSlides/notesSlide13.xml" ContentType="application/vnd.openxmlformats-officedocument.presentationml.notesSlide+xml"/>
  <Override PartName="/ppt/tags/tag5.xml" ContentType="application/vnd.openxmlformats-officedocument.presentationml.tags+xml"/>
  <Override PartName="/ppt/notesSlides/notesSlide14.xml" ContentType="application/vnd.openxmlformats-officedocument.presentationml.notesSlide+xml"/>
  <Override PartName="/ppt/tags/tag6.xml" ContentType="application/vnd.openxmlformats-officedocument.presentationml.tags+xml"/>
  <Override PartName="/ppt/notesSlides/notesSlide1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6"/>
  </p:notesMasterIdLst>
  <p:sldIdLst>
    <p:sldId id="257" r:id="rId5"/>
    <p:sldId id="301" r:id="rId6"/>
    <p:sldId id="302" r:id="rId7"/>
    <p:sldId id="259" r:id="rId8"/>
    <p:sldId id="285" r:id="rId9"/>
    <p:sldId id="300" r:id="rId10"/>
    <p:sldId id="297" r:id="rId11"/>
    <p:sldId id="286" r:id="rId12"/>
    <p:sldId id="304" r:id="rId13"/>
    <p:sldId id="305" r:id="rId14"/>
    <p:sldId id="308" r:id="rId15"/>
    <p:sldId id="298" r:id="rId16"/>
    <p:sldId id="288" r:id="rId17"/>
    <p:sldId id="306" r:id="rId18"/>
    <p:sldId id="310" r:id="rId19"/>
    <p:sldId id="309" r:id="rId20"/>
    <p:sldId id="311" r:id="rId21"/>
    <p:sldId id="296" r:id="rId22"/>
    <p:sldId id="292" r:id="rId23"/>
    <p:sldId id="307" r:id="rId24"/>
    <p:sldId id="299" r:id="rId25"/>
  </p:sldIdLst>
  <p:sldSz cx="12192000" cy="6858000"/>
  <p:notesSz cx="6858000" cy="9144000"/>
  <p:custDataLst>
    <p:tags r:id="rId27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4" pos="325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219A315-6942-F1DF-7AE2-2EC828D72C1C}" name="Chloé Julie Charlotte Canavate" initials="CJCC" userId="Chloé Julie Charlotte Canavate" providerId="None"/>
  <p188:author id="{2AC3F174-B086-F6A7-6FA1-74A1495D2A32}" name="Massimo Alfonzo" initials="MA" userId="Massimo Alfonzo" providerId="None"/>
  <p188:author id="{E4FFBA7A-9DC9-E1D1-969E-4F08A8FCFD75}" name="Massimo Alfonzo" initials="MA" userId="S::10628590@polimi.it::cef0ebbf-9067-4a40-8c82-7d97e03714d2" providerId="AD"/>
  <p188:author id="{53B662B2-1109-DEAD-2A20-B3FF5583FFA1}" name="Patrick Alexander Franke" initials="PAF" userId="Patrick Alexander Franke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nedetta Garagiola" initials="BG" lastIdx="1" clrIdx="0">
    <p:extLst>
      <p:ext uri="{19B8F6BF-5375-455C-9EA6-DF929625EA0E}">
        <p15:presenceInfo xmlns:p15="http://schemas.microsoft.com/office/powerpoint/2012/main" userId="Benedetta Garagiol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E6F2"/>
    <a:srgbClr val="FFFFFF"/>
    <a:srgbClr val="F8F8F8"/>
    <a:srgbClr val="728FA5"/>
    <a:srgbClr val="FF00FF"/>
    <a:srgbClr val="00C400"/>
    <a:srgbClr val="00D600"/>
    <a:srgbClr val="00518E"/>
    <a:srgbClr val="0083E6"/>
    <a:srgbClr val="007F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25018F-0847-4360-889A-A6396523E99E}" v="1604" dt="2022-07-14T05:26:51.093"/>
    <p1510:client id="{76594E52-3920-453B-A9AF-B690723259B3}" v="4876" dt="2022-07-13T23:09:04.651"/>
    <p1510:client id="{9273AFB8-765D-43DB-805B-0481FEE8EF2D}" v="59" dt="2022-07-14T08:04:26.025"/>
    <p1510:client id="{CE2C85BF-A759-43FC-9E04-481E077E7D33}" v="189" dt="2022-07-13T10:47:11.554"/>
  </p1510:revLst>
</p1510:revInfo>
</file>

<file path=ppt/tableStyles.xml><?xml version="1.0" encoding="utf-8"?>
<a:tblStyleLst xmlns:a="http://schemas.openxmlformats.org/drawingml/2006/main" def="{5C22544A-7EE6-4342-B048-85BDC9FD1C3A}">
  <a:tblStyle styleId="{69CF1AB2-1976-4502-BF36-3FF5EA218861}" styleName="Stile medio 4 - Color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40"/>
        <p:guide pos="325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ssimo Alfonzo" userId="cef0ebbf-9067-4a40-8c82-7d97e03714d2" providerId="ADAL" clId="{9273AFB8-765D-43DB-805B-0481FEE8EF2D}"/>
    <pc:docChg chg="delSld modSld">
      <pc:chgData name="Massimo Alfonzo" userId="cef0ebbf-9067-4a40-8c82-7d97e03714d2" providerId="ADAL" clId="{9273AFB8-765D-43DB-805B-0481FEE8EF2D}" dt="2022-07-14T08:04:26.025" v="65"/>
      <pc:docMkLst>
        <pc:docMk/>
      </pc:docMkLst>
      <pc:sldChg chg="del">
        <pc:chgData name="Massimo Alfonzo" userId="cef0ebbf-9067-4a40-8c82-7d97e03714d2" providerId="ADAL" clId="{9273AFB8-765D-43DB-805B-0481FEE8EF2D}" dt="2022-07-14T08:00:15.002" v="7" actId="47"/>
        <pc:sldMkLst>
          <pc:docMk/>
          <pc:sldMk cId="3383649683" sldId="258"/>
        </pc:sldMkLst>
      </pc:sldChg>
      <pc:sldChg chg="modNotesTx">
        <pc:chgData name="Massimo Alfonzo" userId="cef0ebbf-9067-4a40-8c82-7d97e03714d2" providerId="ADAL" clId="{9273AFB8-765D-43DB-805B-0481FEE8EF2D}" dt="2022-07-14T08:03:00.588" v="53" actId="20577"/>
        <pc:sldMkLst>
          <pc:docMk/>
          <pc:sldMk cId="1386269732" sldId="259"/>
        </pc:sldMkLst>
      </pc:sldChg>
      <pc:sldChg chg="del">
        <pc:chgData name="Massimo Alfonzo" userId="cef0ebbf-9067-4a40-8c82-7d97e03714d2" providerId="ADAL" clId="{9273AFB8-765D-43DB-805B-0481FEE8EF2D}" dt="2022-07-14T08:00:15.002" v="7" actId="47"/>
        <pc:sldMkLst>
          <pc:docMk/>
          <pc:sldMk cId="3922913386" sldId="262"/>
        </pc:sldMkLst>
      </pc:sldChg>
      <pc:sldChg chg="del">
        <pc:chgData name="Massimo Alfonzo" userId="cef0ebbf-9067-4a40-8c82-7d97e03714d2" providerId="ADAL" clId="{9273AFB8-765D-43DB-805B-0481FEE8EF2D}" dt="2022-07-14T08:00:15.002" v="7" actId="47"/>
        <pc:sldMkLst>
          <pc:docMk/>
          <pc:sldMk cId="3791195039" sldId="263"/>
        </pc:sldMkLst>
      </pc:sldChg>
      <pc:sldChg chg="del">
        <pc:chgData name="Massimo Alfonzo" userId="cef0ebbf-9067-4a40-8c82-7d97e03714d2" providerId="ADAL" clId="{9273AFB8-765D-43DB-805B-0481FEE8EF2D}" dt="2022-07-14T08:00:15.002" v="7" actId="47"/>
        <pc:sldMkLst>
          <pc:docMk/>
          <pc:sldMk cId="1320313918" sldId="265"/>
        </pc:sldMkLst>
      </pc:sldChg>
      <pc:sldChg chg="del">
        <pc:chgData name="Massimo Alfonzo" userId="cef0ebbf-9067-4a40-8c82-7d97e03714d2" providerId="ADAL" clId="{9273AFB8-765D-43DB-805B-0481FEE8EF2D}" dt="2022-07-14T08:00:15.002" v="7" actId="47"/>
        <pc:sldMkLst>
          <pc:docMk/>
          <pc:sldMk cId="819387463" sldId="272"/>
        </pc:sldMkLst>
      </pc:sldChg>
      <pc:sldChg chg="del">
        <pc:chgData name="Massimo Alfonzo" userId="cef0ebbf-9067-4a40-8c82-7d97e03714d2" providerId="ADAL" clId="{9273AFB8-765D-43DB-805B-0481FEE8EF2D}" dt="2022-07-14T08:00:15.002" v="7" actId="47"/>
        <pc:sldMkLst>
          <pc:docMk/>
          <pc:sldMk cId="3608260996" sldId="275"/>
        </pc:sldMkLst>
      </pc:sldChg>
      <pc:sldChg chg="del">
        <pc:chgData name="Massimo Alfonzo" userId="cef0ebbf-9067-4a40-8c82-7d97e03714d2" providerId="ADAL" clId="{9273AFB8-765D-43DB-805B-0481FEE8EF2D}" dt="2022-07-14T08:00:15.002" v="7" actId="47"/>
        <pc:sldMkLst>
          <pc:docMk/>
          <pc:sldMk cId="3279857982" sldId="282"/>
        </pc:sldMkLst>
      </pc:sldChg>
      <pc:sldChg chg="del">
        <pc:chgData name="Massimo Alfonzo" userId="cef0ebbf-9067-4a40-8c82-7d97e03714d2" providerId="ADAL" clId="{9273AFB8-765D-43DB-805B-0481FEE8EF2D}" dt="2022-07-14T08:00:15.002" v="7" actId="47"/>
        <pc:sldMkLst>
          <pc:docMk/>
          <pc:sldMk cId="4066729470" sldId="283"/>
        </pc:sldMkLst>
      </pc:sldChg>
      <pc:sldChg chg="modNotesTx">
        <pc:chgData name="Massimo Alfonzo" userId="cef0ebbf-9067-4a40-8c82-7d97e03714d2" providerId="ADAL" clId="{9273AFB8-765D-43DB-805B-0481FEE8EF2D}" dt="2022-07-14T08:03:04.475" v="54" actId="20577"/>
        <pc:sldMkLst>
          <pc:docMk/>
          <pc:sldMk cId="416251179" sldId="285"/>
        </pc:sldMkLst>
      </pc:sldChg>
      <pc:sldChg chg="delCm modNotesTx">
        <pc:chgData name="Massimo Alfonzo" userId="cef0ebbf-9067-4a40-8c82-7d97e03714d2" providerId="ADAL" clId="{9273AFB8-765D-43DB-805B-0481FEE8EF2D}" dt="2022-07-14T08:03:31.963" v="58"/>
        <pc:sldMkLst>
          <pc:docMk/>
          <pc:sldMk cId="10835379" sldId="286"/>
        </pc:sldMkLst>
      </pc:sldChg>
      <pc:sldChg chg="del">
        <pc:chgData name="Massimo Alfonzo" userId="cef0ebbf-9067-4a40-8c82-7d97e03714d2" providerId="ADAL" clId="{9273AFB8-765D-43DB-805B-0481FEE8EF2D}" dt="2022-07-14T08:00:15.002" v="7" actId="47"/>
        <pc:sldMkLst>
          <pc:docMk/>
          <pc:sldMk cId="3801310453" sldId="291"/>
        </pc:sldMkLst>
      </pc:sldChg>
      <pc:sldChg chg="del">
        <pc:chgData name="Massimo Alfonzo" userId="cef0ebbf-9067-4a40-8c82-7d97e03714d2" providerId="ADAL" clId="{9273AFB8-765D-43DB-805B-0481FEE8EF2D}" dt="2022-07-14T08:00:15.002" v="7" actId="47"/>
        <pc:sldMkLst>
          <pc:docMk/>
          <pc:sldMk cId="2203184600" sldId="293"/>
        </pc:sldMkLst>
      </pc:sldChg>
      <pc:sldChg chg="del">
        <pc:chgData name="Massimo Alfonzo" userId="cef0ebbf-9067-4a40-8c82-7d97e03714d2" providerId="ADAL" clId="{9273AFB8-765D-43DB-805B-0481FEE8EF2D}" dt="2022-07-14T08:00:15.002" v="7" actId="47"/>
        <pc:sldMkLst>
          <pc:docMk/>
          <pc:sldMk cId="2999950534" sldId="294"/>
        </pc:sldMkLst>
      </pc:sldChg>
      <pc:sldChg chg="del">
        <pc:chgData name="Massimo Alfonzo" userId="cef0ebbf-9067-4a40-8c82-7d97e03714d2" providerId="ADAL" clId="{9273AFB8-765D-43DB-805B-0481FEE8EF2D}" dt="2022-07-14T08:00:15.002" v="7" actId="47"/>
        <pc:sldMkLst>
          <pc:docMk/>
          <pc:sldMk cId="2714229153" sldId="295"/>
        </pc:sldMkLst>
      </pc:sldChg>
      <pc:sldChg chg="delCm">
        <pc:chgData name="Massimo Alfonzo" userId="cef0ebbf-9067-4a40-8c82-7d97e03714d2" providerId="ADAL" clId="{9273AFB8-765D-43DB-805B-0481FEE8EF2D}" dt="2022-07-14T08:04:14.487" v="64"/>
        <pc:sldMkLst>
          <pc:docMk/>
          <pc:sldMk cId="3632883391" sldId="296"/>
        </pc:sldMkLst>
      </pc:sldChg>
      <pc:sldChg chg="modNotesTx">
        <pc:chgData name="Massimo Alfonzo" userId="cef0ebbf-9067-4a40-8c82-7d97e03714d2" providerId="ADAL" clId="{9273AFB8-765D-43DB-805B-0481FEE8EF2D}" dt="2022-07-14T08:03:13.855" v="56" actId="20577"/>
        <pc:sldMkLst>
          <pc:docMk/>
          <pc:sldMk cId="3011129314" sldId="297"/>
        </pc:sldMkLst>
      </pc:sldChg>
      <pc:sldChg chg="modNotesTx">
        <pc:chgData name="Massimo Alfonzo" userId="cef0ebbf-9067-4a40-8c82-7d97e03714d2" providerId="ADAL" clId="{9273AFB8-765D-43DB-805B-0481FEE8EF2D}" dt="2022-07-14T08:03:53.042" v="62" actId="20577"/>
        <pc:sldMkLst>
          <pc:docMk/>
          <pc:sldMk cId="3633460246" sldId="298"/>
        </pc:sldMkLst>
      </pc:sldChg>
      <pc:sldChg chg="modNotesTx">
        <pc:chgData name="Massimo Alfonzo" userId="cef0ebbf-9067-4a40-8c82-7d97e03714d2" providerId="ADAL" clId="{9273AFB8-765D-43DB-805B-0481FEE8EF2D}" dt="2022-07-14T08:03:08.408" v="55" actId="20577"/>
        <pc:sldMkLst>
          <pc:docMk/>
          <pc:sldMk cId="3843116995" sldId="300"/>
        </pc:sldMkLst>
      </pc:sldChg>
      <pc:sldChg chg="modNotesTx">
        <pc:chgData name="Massimo Alfonzo" userId="cef0ebbf-9067-4a40-8c82-7d97e03714d2" providerId="ADAL" clId="{9273AFB8-765D-43DB-805B-0481FEE8EF2D}" dt="2022-07-14T08:02:53.449" v="51" actId="20577"/>
        <pc:sldMkLst>
          <pc:docMk/>
          <pc:sldMk cId="2161304811" sldId="301"/>
        </pc:sldMkLst>
      </pc:sldChg>
      <pc:sldChg chg="modNotesTx">
        <pc:chgData name="Massimo Alfonzo" userId="cef0ebbf-9067-4a40-8c82-7d97e03714d2" providerId="ADAL" clId="{9273AFB8-765D-43DB-805B-0481FEE8EF2D}" dt="2022-07-14T08:02:57.466" v="52" actId="20577"/>
        <pc:sldMkLst>
          <pc:docMk/>
          <pc:sldMk cId="3254695870" sldId="302"/>
        </pc:sldMkLst>
      </pc:sldChg>
      <pc:sldChg chg="modNotesTx">
        <pc:chgData name="Massimo Alfonzo" userId="cef0ebbf-9067-4a40-8c82-7d97e03714d2" providerId="ADAL" clId="{9273AFB8-765D-43DB-805B-0481FEE8EF2D}" dt="2022-07-14T08:03:41.308" v="60" actId="20577"/>
        <pc:sldMkLst>
          <pc:docMk/>
          <pc:sldMk cId="3246406989" sldId="304"/>
        </pc:sldMkLst>
      </pc:sldChg>
      <pc:sldChg chg="delCm">
        <pc:chgData name="Massimo Alfonzo" userId="cef0ebbf-9067-4a40-8c82-7d97e03714d2" providerId="ADAL" clId="{9273AFB8-765D-43DB-805B-0481FEE8EF2D}" dt="2022-07-14T08:04:26.025" v="65"/>
        <pc:sldMkLst>
          <pc:docMk/>
          <pc:sldMk cId="1919105368" sldId="307"/>
        </pc:sldMkLst>
      </pc:sldChg>
      <pc:sldChg chg="modNotesTx">
        <pc:chgData name="Massimo Alfonzo" userId="cef0ebbf-9067-4a40-8c82-7d97e03714d2" providerId="ADAL" clId="{9273AFB8-765D-43DB-805B-0481FEE8EF2D}" dt="2022-07-14T08:03:49.962" v="61" actId="20577"/>
        <pc:sldMkLst>
          <pc:docMk/>
          <pc:sldMk cId="3594739738" sldId="308"/>
        </pc:sldMkLst>
      </pc:sldChg>
      <pc:sldChg chg="delCm">
        <pc:chgData name="Massimo Alfonzo" userId="cef0ebbf-9067-4a40-8c82-7d97e03714d2" providerId="ADAL" clId="{9273AFB8-765D-43DB-805B-0481FEE8EF2D}" dt="2022-07-14T08:04:04.065" v="63"/>
        <pc:sldMkLst>
          <pc:docMk/>
          <pc:sldMk cId="4080963039" sldId="309"/>
        </pc:sldMkLst>
      </pc:sldChg>
    </pc:docChg>
  </pc:docChgLst>
  <pc:docChgLst>
    <pc:chgData name="Massimo Alfonzo" userId="cef0ebbf-9067-4a40-8c82-7d97e03714d2" providerId="ADAL" clId="{2C9B4535-216E-4297-80DA-8888E7FEB6CB}"/>
    <pc:docChg chg="undo custSel delSld modSld">
      <pc:chgData name="Massimo Alfonzo" userId="cef0ebbf-9067-4a40-8c82-7d97e03714d2" providerId="ADAL" clId="{2C9B4535-216E-4297-80DA-8888E7FEB6CB}" dt="2022-06-01T12:57:12.017" v="2206" actId="1036"/>
      <pc:docMkLst>
        <pc:docMk/>
      </pc:docMkLst>
      <pc:sldChg chg="del">
        <pc:chgData name="Massimo Alfonzo" userId="cef0ebbf-9067-4a40-8c82-7d97e03714d2" providerId="ADAL" clId="{2C9B4535-216E-4297-80DA-8888E7FEB6CB}" dt="2022-05-31T01:05:29.384" v="1180" actId="2696"/>
        <pc:sldMkLst>
          <pc:docMk/>
          <pc:sldMk cId="1349436701" sldId="256"/>
        </pc:sldMkLst>
      </pc:sldChg>
      <pc:sldChg chg="modSp mod">
        <pc:chgData name="Massimo Alfonzo" userId="cef0ebbf-9067-4a40-8c82-7d97e03714d2" providerId="ADAL" clId="{2C9B4535-216E-4297-80DA-8888E7FEB6CB}" dt="2022-06-01T12:41:00.952" v="2089" actId="20577"/>
        <pc:sldMkLst>
          <pc:docMk/>
          <pc:sldMk cId="223892638" sldId="257"/>
        </pc:sldMkLst>
        <pc:spChg chg="mod">
          <ac:chgData name="Massimo Alfonzo" userId="cef0ebbf-9067-4a40-8c82-7d97e03714d2" providerId="ADAL" clId="{2C9B4535-216E-4297-80DA-8888E7FEB6CB}" dt="2022-05-28T15:25:19.026" v="111" actId="20577"/>
          <ac:spMkLst>
            <pc:docMk/>
            <pc:sldMk cId="223892638" sldId="257"/>
            <ac:spMk id="2" creationId="{F8A58723-CF68-4B39-9651-82A458DB5BD8}"/>
          </ac:spMkLst>
        </pc:spChg>
        <pc:spChg chg="mod">
          <ac:chgData name="Massimo Alfonzo" userId="cef0ebbf-9067-4a40-8c82-7d97e03714d2" providerId="ADAL" clId="{2C9B4535-216E-4297-80DA-8888E7FEB6CB}" dt="2022-05-28T15:25:03.049" v="109" actId="20577"/>
          <ac:spMkLst>
            <pc:docMk/>
            <pc:sldMk cId="223892638" sldId="257"/>
            <ac:spMk id="3" creationId="{E80F0972-A09C-4A26-BF72-12D2B527078A}"/>
          </ac:spMkLst>
        </pc:spChg>
        <pc:spChg chg="mod">
          <ac:chgData name="Massimo Alfonzo" userId="cef0ebbf-9067-4a40-8c82-7d97e03714d2" providerId="ADAL" clId="{2C9B4535-216E-4297-80DA-8888E7FEB6CB}" dt="2022-06-01T12:41:00.952" v="2089" actId="20577"/>
          <ac:spMkLst>
            <pc:docMk/>
            <pc:sldMk cId="223892638" sldId="257"/>
            <ac:spMk id="5" creationId="{00000000-0000-0000-0000-000000000000}"/>
          </ac:spMkLst>
        </pc:spChg>
        <pc:spChg chg="mod">
          <ac:chgData name="Massimo Alfonzo" userId="cef0ebbf-9067-4a40-8c82-7d97e03714d2" providerId="ADAL" clId="{2C9B4535-216E-4297-80DA-8888E7FEB6CB}" dt="2022-05-28T15:23:27.767" v="6" actId="20577"/>
          <ac:spMkLst>
            <pc:docMk/>
            <pc:sldMk cId="223892638" sldId="257"/>
            <ac:spMk id="11" creationId="{00000000-0000-0000-0000-000000000000}"/>
          </ac:spMkLst>
        </pc:spChg>
      </pc:sldChg>
      <pc:sldChg chg="addSp delSp modSp mod">
        <pc:chgData name="Massimo Alfonzo" userId="cef0ebbf-9067-4a40-8c82-7d97e03714d2" providerId="ADAL" clId="{2C9B4535-216E-4297-80DA-8888E7FEB6CB}" dt="2022-05-31T01:05:42.714" v="1184" actId="14100"/>
        <pc:sldMkLst>
          <pc:docMk/>
          <pc:sldMk cId="3383649683" sldId="258"/>
        </pc:sldMkLst>
        <pc:spChg chg="mod">
          <ac:chgData name="Massimo Alfonzo" userId="cef0ebbf-9067-4a40-8c82-7d97e03714d2" providerId="ADAL" clId="{2C9B4535-216E-4297-80DA-8888E7FEB6CB}" dt="2022-05-28T15:36:00.954" v="668" actId="20577"/>
          <ac:spMkLst>
            <pc:docMk/>
            <pc:sldMk cId="3383649683" sldId="258"/>
            <ac:spMk id="2" creationId="{00000000-0000-0000-0000-000000000000}"/>
          </ac:spMkLst>
        </pc:spChg>
        <pc:spChg chg="mod">
          <ac:chgData name="Massimo Alfonzo" userId="cef0ebbf-9067-4a40-8c82-7d97e03714d2" providerId="ADAL" clId="{2C9B4535-216E-4297-80DA-8888E7FEB6CB}" dt="2022-05-28T15:35:52.982" v="656" actId="113"/>
          <ac:spMkLst>
            <pc:docMk/>
            <pc:sldMk cId="3383649683" sldId="258"/>
            <ac:spMk id="4" creationId="{F5DB627B-A258-4CB9-9807-FE1A7AB8CC4C}"/>
          </ac:spMkLst>
        </pc:spChg>
        <pc:spChg chg="mod">
          <ac:chgData name="Massimo Alfonzo" userId="cef0ebbf-9067-4a40-8c82-7d97e03714d2" providerId="ADAL" clId="{2C9B4535-216E-4297-80DA-8888E7FEB6CB}" dt="2022-05-28T15:27:52.539" v="246" actId="20577"/>
          <ac:spMkLst>
            <pc:docMk/>
            <pc:sldMk cId="3383649683" sldId="258"/>
            <ac:spMk id="21" creationId="{6C64F136-CFE1-4313-96C3-2810D0C0ECC1}"/>
          </ac:spMkLst>
        </pc:spChg>
        <pc:spChg chg="mod">
          <ac:chgData name="Massimo Alfonzo" userId="cef0ebbf-9067-4a40-8c82-7d97e03714d2" providerId="ADAL" clId="{2C9B4535-216E-4297-80DA-8888E7FEB6CB}" dt="2022-05-28T15:29:40.350" v="255" actId="113"/>
          <ac:spMkLst>
            <pc:docMk/>
            <pc:sldMk cId="3383649683" sldId="258"/>
            <ac:spMk id="22" creationId="{A52D73B6-30D2-4202-BE8D-52E359300CBC}"/>
          </ac:spMkLst>
        </pc:spChg>
        <pc:spChg chg="del mod">
          <ac:chgData name="Massimo Alfonzo" userId="cef0ebbf-9067-4a40-8c82-7d97e03714d2" providerId="ADAL" clId="{2C9B4535-216E-4297-80DA-8888E7FEB6CB}" dt="2022-05-28T15:27:48.849" v="245"/>
          <ac:spMkLst>
            <pc:docMk/>
            <pc:sldMk cId="3383649683" sldId="258"/>
            <ac:spMk id="23" creationId="{C752F374-769B-4CD7-AD95-4EAF5F605B6F}"/>
          </ac:spMkLst>
        </pc:spChg>
        <pc:spChg chg="mod">
          <ac:chgData name="Massimo Alfonzo" userId="cef0ebbf-9067-4a40-8c82-7d97e03714d2" providerId="ADAL" clId="{2C9B4535-216E-4297-80DA-8888E7FEB6CB}" dt="2022-05-31T01:05:42.714" v="1184" actId="14100"/>
          <ac:spMkLst>
            <pc:docMk/>
            <pc:sldMk cId="3383649683" sldId="258"/>
            <ac:spMk id="27" creationId="{28ECE99C-AD28-AB2A-DD04-17D1A60B7E1B}"/>
          </ac:spMkLst>
        </pc:spChg>
        <pc:spChg chg="mod">
          <ac:chgData name="Massimo Alfonzo" userId="cef0ebbf-9067-4a40-8c82-7d97e03714d2" providerId="ADAL" clId="{2C9B4535-216E-4297-80DA-8888E7FEB6CB}" dt="2022-05-28T15:33:43.835" v="322" actId="20577"/>
          <ac:spMkLst>
            <pc:docMk/>
            <pc:sldMk cId="3383649683" sldId="258"/>
            <ac:spMk id="52" creationId="{5C05A071-D348-4D04-B271-48CD6339EF62}"/>
          </ac:spMkLst>
        </pc:spChg>
        <pc:grpChg chg="mod">
          <ac:chgData name="Massimo Alfonzo" userId="cef0ebbf-9067-4a40-8c82-7d97e03714d2" providerId="ADAL" clId="{2C9B4535-216E-4297-80DA-8888E7FEB6CB}" dt="2022-05-28T16:51:49.262" v="1048" actId="14100"/>
          <ac:grpSpMkLst>
            <pc:docMk/>
            <pc:sldMk cId="3383649683" sldId="258"/>
            <ac:grpSpMk id="53" creationId="{9C29B757-4D8E-444C-87C4-72BAD012ABC7}"/>
          </ac:grpSpMkLst>
        </pc:grpChg>
        <pc:grpChg chg="del">
          <ac:chgData name="Massimo Alfonzo" userId="cef0ebbf-9067-4a40-8c82-7d97e03714d2" providerId="ADAL" clId="{2C9B4535-216E-4297-80DA-8888E7FEB6CB}" dt="2022-05-28T15:29:05.544" v="247" actId="478"/>
          <ac:grpSpMkLst>
            <pc:docMk/>
            <pc:sldMk cId="3383649683" sldId="258"/>
            <ac:grpSpMk id="55" creationId="{82C07626-5689-44A1-A5F5-5564D512893D}"/>
          </ac:grpSpMkLst>
        </pc:grpChg>
        <pc:picChg chg="add mod">
          <ac:chgData name="Massimo Alfonzo" userId="cef0ebbf-9067-4a40-8c82-7d97e03714d2" providerId="ADAL" clId="{2C9B4535-216E-4297-80DA-8888E7FEB6CB}" dt="2022-05-28T15:29:15.986" v="251" actId="1076"/>
          <ac:picMkLst>
            <pc:docMk/>
            <pc:sldMk cId="3383649683" sldId="258"/>
            <ac:picMk id="6" creationId="{555DA3E5-CE2F-ABE5-DA51-151FF81544D8}"/>
          </ac:picMkLst>
        </pc:picChg>
        <pc:picChg chg="add del mod">
          <ac:chgData name="Massimo Alfonzo" userId="cef0ebbf-9067-4a40-8c82-7d97e03714d2" providerId="ADAL" clId="{2C9B4535-216E-4297-80DA-8888E7FEB6CB}" dt="2022-05-31T01:05:38.319" v="1181" actId="478"/>
          <ac:picMkLst>
            <pc:docMk/>
            <pc:sldMk cId="3383649683" sldId="258"/>
            <ac:picMk id="7" creationId="{485D60E5-4C8B-D1A8-FD05-DBA064DA6294}"/>
          </ac:picMkLst>
        </pc:picChg>
        <pc:picChg chg="add mod">
          <ac:chgData name="Massimo Alfonzo" userId="cef0ebbf-9067-4a40-8c82-7d97e03714d2" providerId="ADAL" clId="{2C9B4535-216E-4297-80DA-8888E7FEB6CB}" dt="2022-05-28T16:52:21.263" v="1050" actId="1076"/>
          <ac:picMkLst>
            <pc:docMk/>
            <pc:sldMk cId="3383649683" sldId="258"/>
            <ac:picMk id="9" creationId="{2EA1DE5C-03EF-ECE3-9615-0CF7DDB78A19}"/>
          </ac:picMkLst>
        </pc:picChg>
      </pc:sldChg>
      <pc:sldChg chg="addSp delSp modSp mod">
        <pc:chgData name="Massimo Alfonzo" userId="cef0ebbf-9067-4a40-8c82-7d97e03714d2" providerId="ADAL" clId="{2C9B4535-216E-4297-80DA-8888E7FEB6CB}" dt="2022-06-01T12:55:09.655" v="2186" actId="1038"/>
        <pc:sldMkLst>
          <pc:docMk/>
          <pc:sldMk cId="1386269732" sldId="259"/>
        </pc:sldMkLst>
        <pc:spChg chg="mod">
          <ac:chgData name="Massimo Alfonzo" userId="cef0ebbf-9067-4a40-8c82-7d97e03714d2" providerId="ADAL" clId="{2C9B4535-216E-4297-80DA-8888E7FEB6CB}" dt="2022-05-28T16:09:49.287" v="678" actId="20577"/>
          <ac:spMkLst>
            <pc:docMk/>
            <pc:sldMk cId="1386269732" sldId="259"/>
            <ac:spMk id="2" creationId="{C6785AE7-8B00-486C-9A8C-F571C93177E4}"/>
          </ac:spMkLst>
        </pc:spChg>
        <pc:spChg chg="del">
          <ac:chgData name="Massimo Alfonzo" userId="cef0ebbf-9067-4a40-8c82-7d97e03714d2" providerId="ADAL" clId="{2C9B4535-216E-4297-80DA-8888E7FEB6CB}" dt="2022-05-28T16:19:23.908" v="792" actId="478"/>
          <ac:spMkLst>
            <pc:docMk/>
            <pc:sldMk cId="1386269732" sldId="259"/>
            <ac:spMk id="6" creationId="{7A187DEE-25F7-4A33-A9B0-33EB0CCF1A0F}"/>
          </ac:spMkLst>
        </pc:spChg>
        <pc:spChg chg="del">
          <ac:chgData name="Massimo Alfonzo" userId="cef0ebbf-9067-4a40-8c82-7d97e03714d2" providerId="ADAL" clId="{2C9B4535-216E-4297-80DA-8888E7FEB6CB}" dt="2022-05-28T16:19:17.578" v="789" actId="478"/>
          <ac:spMkLst>
            <pc:docMk/>
            <pc:sldMk cId="1386269732" sldId="259"/>
            <ac:spMk id="8" creationId="{B09ADCB1-0154-433D-929A-83708B76D699}"/>
          </ac:spMkLst>
        </pc:spChg>
        <pc:spChg chg="add mod">
          <ac:chgData name="Massimo Alfonzo" userId="cef0ebbf-9067-4a40-8c82-7d97e03714d2" providerId="ADAL" clId="{2C9B4535-216E-4297-80DA-8888E7FEB6CB}" dt="2022-05-28T16:49:31.066" v="896" actId="1038"/>
          <ac:spMkLst>
            <pc:docMk/>
            <pc:sldMk cId="1386269732" sldId="259"/>
            <ac:spMk id="10" creationId="{03C5353F-CF01-DDC7-59A8-BB6D79053932}"/>
          </ac:spMkLst>
        </pc:spChg>
        <pc:spChg chg="del">
          <ac:chgData name="Massimo Alfonzo" userId="cef0ebbf-9067-4a40-8c82-7d97e03714d2" providerId="ADAL" clId="{2C9B4535-216E-4297-80DA-8888E7FEB6CB}" dt="2022-05-28T16:19:20.595" v="790" actId="478"/>
          <ac:spMkLst>
            <pc:docMk/>
            <pc:sldMk cId="1386269732" sldId="259"/>
            <ac:spMk id="12" creationId="{2C7DBAA3-3F07-4751-B0E9-79CFE12876B0}"/>
          </ac:spMkLst>
        </pc:spChg>
        <pc:spChg chg="del">
          <ac:chgData name="Massimo Alfonzo" userId="cef0ebbf-9067-4a40-8c82-7d97e03714d2" providerId="ADAL" clId="{2C9B4535-216E-4297-80DA-8888E7FEB6CB}" dt="2022-05-28T16:09:41.371" v="669" actId="478"/>
          <ac:spMkLst>
            <pc:docMk/>
            <pc:sldMk cId="1386269732" sldId="259"/>
            <ac:spMk id="15" creationId="{DF16A4A9-BE50-45C7-BB2A-B7C35061C0F0}"/>
          </ac:spMkLst>
        </pc:spChg>
        <pc:spChg chg="del">
          <ac:chgData name="Massimo Alfonzo" userId="cef0ebbf-9067-4a40-8c82-7d97e03714d2" providerId="ADAL" clId="{2C9B4535-216E-4297-80DA-8888E7FEB6CB}" dt="2022-05-28T16:13:23.559" v="763" actId="478"/>
          <ac:spMkLst>
            <pc:docMk/>
            <pc:sldMk cId="1386269732" sldId="259"/>
            <ac:spMk id="16" creationId="{E0B5DDFC-7BCA-4C10-BCB0-CA6B23782BA7}"/>
          </ac:spMkLst>
        </pc:spChg>
        <pc:spChg chg="del">
          <ac:chgData name="Massimo Alfonzo" userId="cef0ebbf-9067-4a40-8c82-7d97e03714d2" providerId="ADAL" clId="{2C9B4535-216E-4297-80DA-8888E7FEB6CB}" dt="2022-05-28T16:13:32.591" v="765" actId="478"/>
          <ac:spMkLst>
            <pc:docMk/>
            <pc:sldMk cId="1386269732" sldId="259"/>
            <ac:spMk id="21" creationId="{826984C4-B105-472B-85A2-FCA0BFF206C1}"/>
          </ac:spMkLst>
        </pc:spChg>
        <pc:spChg chg="del">
          <ac:chgData name="Massimo Alfonzo" userId="cef0ebbf-9067-4a40-8c82-7d97e03714d2" providerId="ADAL" clId="{2C9B4535-216E-4297-80DA-8888E7FEB6CB}" dt="2022-05-28T16:13:27.835" v="764" actId="478"/>
          <ac:spMkLst>
            <pc:docMk/>
            <pc:sldMk cId="1386269732" sldId="259"/>
            <ac:spMk id="22" creationId="{7F20BF00-7DF3-482D-A0EA-564A71A1D64F}"/>
          </ac:spMkLst>
        </pc:spChg>
        <pc:spChg chg="del">
          <ac:chgData name="Massimo Alfonzo" userId="cef0ebbf-9067-4a40-8c82-7d97e03714d2" providerId="ADAL" clId="{2C9B4535-216E-4297-80DA-8888E7FEB6CB}" dt="2022-05-28T16:14:19.705" v="780" actId="478"/>
          <ac:spMkLst>
            <pc:docMk/>
            <pc:sldMk cId="1386269732" sldId="259"/>
            <ac:spMk id="27" creationId="{C29DA1E3-10CF-4695-B0A7-C88195F93FF8}"/>
          </ac:spMkLst>
        </pc:spChg>
        <pc:spChg chg="del">
          <ac:chgData name="Massimo Alfonzo" userId="cef0ebbf-9067-4a40-8c82-7d97e03714d2" providerId="ADAL" clId="{2C9B4535-216E-4297-80DA-8888E7FEB6CB}" dt="2022-05-28T16:14:11.074" v="775" actId="478"/>
          <ac:spMkLst>
            <pc:docMk/>
            <pc:sldMk cId="1386269732" sldId="259"/>
            <ac:spMk id="32" creationId="{638D79E7-BBEB-4EE1-9149-5A4A0FBE69DE}"/>
          </ac:spMkLst>
        </pc:spChg>
        <pc:spChg chg="del">
          <ac:chgData name="Massimo Alfonzo" userId="cef0ebbf-9067-4a40-8c82-7d97e03714d2" providerId="ADAL" clId="{2C9B4535-216E-4297-80DA-8888E7FEB6CB}" dt="2022-05-28T16:14:05.921" v="774" actId="478"/>
          <ac:spMkLst>
            <pc:docMk/>
            <pc:sldMk cId="1386269732" sldId="259"/>
            <ac:spMk id="33" creationId="{627BCB36-55AE-4781-81D5-756FC041F90D}"/>
          </ac:spMkLst>
        </pc:spChg>
        <pc:spChg chg="del">
          <ac:chgData name="Massimo Alfonzo" userId="cef0ebbf-9067-4a40-8c82-7d97e03714d2" providerId="ADAL" clId="{2C9B4535-216E-4297-80DA-8888E7FEB6CB}" dt="2022-05-28T16:14:04.398" v="773" actId="478"/>
          <ac:spMkLst>
            <pc:docMk/>
            <pc:sldMk cId="1386269732" sldId="259"/>
            <ac:spMk id="34" creationId="{D910830A-A528-4283-A2C0-40E99F3F534D}"/>
          </ac:spMkLst>
        </pc:spChg>
        <pc:spChg chg="del">
          <ac:chgData name="Massimo Alfonzo" userId="cef0ebbf-9067-4a40-8c82-7d97e03714d2" providerId="ADAL" clId="{2C9B4535-216E-4297-80DA-8888E7FEB6CB}" dt="2022-05-28T16:14:01.351" v="772" actId="478"/>
          <ac:spMkLst>
            <pc:docMk/>
            <pc:sldMk cId="1386269732" sldId="259"/>
            <ac:spMk id="35" creationId="{1D51EA61-D8B8-4FEA-A983-8CA0190C1B52}"/>
          </ac:spMkLst>
        </pc:spChg>
        <pc:spChg chg="del">
          <ac:chgData name="Massimo Alfonzo" userId="cef0ebbf-9067-4a40-8c82-7d97e03714d2" providerId="ADAL" clId="{2C9B4535-216E-4297-80DA-8888E7FEB6CB}" dt="2022-05-28T16:13:57.410" v="771" actId="478"/>
          <ac:spMkLst>
            <pc:docMk/>
            <pc:sldMk cId="1386269732" sldId="259"/>
            <ac:spMk id="36" creationId="{3F90DA54-B87F-447C-9F6A-E4A0880C47CC}"/>
          </ac:spMkLst>
        </pc:spChg>
        <pc:spChg chg="del mod">
          <ac:chgData name="Massimo Alfonzo" userId="cef0ebbf-9067-4a40-8c82-7d97e03714d2" providerId="ADAL" clId="{2C9B4535-216E-4297-80DA-8888E7FEB6CB}" dt="2022-05-28T16:13:54.547" v="770" actId="478"/>
          <ac:spMkLst>
            <pc:docMk/>
            <pc:sldMk cId="1386269732" sldId="259"/>
            <ac:spMk id="37" creationId="{3E72EBAD-ECCD-4C9B-A278-AF7A174C1CE0}"/>
          </ac:spMkLst>
        </pc:spChg>
        <pc:spChg chg="del">
          <ac:chgData name="Massimo Alfonzo" userId="cef0ebbf-9067-4a40-8c82-7d97e03714d2" providerId="ADAL" clId="{2C9B4535-216E-4297-80DA-8888E7FEB6CB}" dt="2022-05-28T16:14:15.909" v="777" actId="478"/>
          <ac:spMkLst>
            <pc:docMk/>
            <pc:sldMk cId="1386269732" sldId="259"/>
            <ac:spMk id="40" creationId="{62290CAB-4D53-4016-822B-45AF98E90D51}"/>
          </ac:spMkLst>
        </pc:spChg>
        <pc:spChg chg="del">
          <ac:chgData name="Massimo Alfonzo" userId="cef0ebbf-9067-4a40-8c82-7d97e03714d2" providerId="ADAL" clId="{2C9B4535-216E-4297-80DA-8888E7FEB6CB}" dt="2022-05-28T16:13:44.658" v="768" actId="478"/>
          <ac:spMkLst>
            <pc:docMk/>
            <pc:sldMk cId="1386269732" sldId="259"/>
            <ac:spMk id="42" creationId="{3CF2C9E8-C46C-44F4-946F-66240583C864}"/>
          </ac:spMkLst>
        </pc:spChg>
        <pc:spChg chg="del">
          <ac:chgData name="Massimo Alfonzo" userId="cef0ebbf-9067-4a40-8c82-7d97e03714d2" providerId="ADAL" clId="{2C9B4535-216E-4297-80DA-8888E7FEB6CB}" dt="2022-05-28T16:14:18.322" v="779" actId="478"/>
          <ac:spMkLst>
            <pc:docMk/>
            <pc:sldMk cId="1386269732" sldId="259"/>
            <ac:spMk id="43" creationId="{06A4EE99-8D02-45DD-80E0-2C1CF2FBC309}"/>
          </ac:spMkLst>
        </pc:spChg>
        <pc:spChg chg="del">
          <ac:chgData name="Massimo Alfonzo" userId="cef0ebbf-9067-4a40-8c82-7d97e03714d2" providerId="ADAL" clId="{2C9B4535-216E-4297-80DA-8888E7FEB6CB}" dt="2022-05-28T16:14:20.759" v="781" actId="478"/>
          <ac:spMkLst>
            <pc:docMk/>
            <pc:sldMk cId="1386269732" sldId="259"/>
            <ac:spMk id="44" creationId="{C2E391F6-395D-4400-8B77-EADB13DB57A2}"/>
          </ac:spMkLst>
        </pc:spChg>
        <pc:spChg chg="del">
          <ac:chgData name="Massimo Alfonzo" userId="cef0ebbf-9067-4a40-8c82-7d97e03714d2" providerId="ADAL" clId="{2C9B4535-216E-4297-80DA-8888E7FEB6CB}" dt="2022-05-28T16:14:21.822" v="782" actId="478"/>
          <ac:spMkLst>
            <pc:docMk/>
            <pc:sldMk cId="1386269732" sldId="259"/>
            <ac:spMk id="45" creationId="{7A231B8D-1C54-4517-8270-75A5F9A5C5B8}"/>
          </ac:spMkLst>
        </pc:spChg>
        <pc:spChg chg="del">
          <ac:chgData name="Massimo Alfonzo" userId="cef0ebbf-9067-4a40-8c82-7d97e03714d2" providerId="ADAL" clId="{2C9B4535-216E-4297-80DA-8888E7FEB6CB}" dt="2022-05-28T16:14:22.966" v="783" actId="478"/>
          <ac:spMkLst>
            <pc:docMk/>
            <pc:sldMk cId="1386269732" sldId="259"/>
            <ac:spMk id="46" creationId="{8C445459-6207-4C94-8E36-256628B26FEF}"/>
          </ac:spMkLst>
        </pc:spChg>
        <pc:spChg chg="del mod">
          <ac:chgData name="Massimo Alfonzo" userId="cef0ebbf-9067-4a40-8c82-7d97e03714d2" providerId="ADAL" clId="{2C9B4535-216E-4297-80DA-8888E7FEB6CB}" dt="2022-05-28T16:14:27.852" v="786" actId="478"/>
          <ac:spMkLst>
            <pc:docMk/>
            <pc:sldMk cId="1386269732" sldId="259"/>
            <ac:spMk id="47" creationId="{988C1E04-CA06-49FB-8FC1-7F9EF5D05090}"/>
          </ac:spMkLst>
        </pc:spChg>
        <pc:spChg chg="del">
          <ac:chgData name="Massimo Alfonzo" userId="cef0ebbf-9067-4a40-8c82-7d97e03714d2" providerId="ADAL" clId="{2C9B4535-216E-4297-80DA-8888E7FEB6CB}" dt="2022-05-28T16:13:36.843" v="766" actId="478"/>
          <ac:spMkLst>
            <pc:docMk/>
            <pc:sldMk cId="1386269732" sldId="259"/>
            <ac:spMk id="52" creationId="{35B0661F-5265-4028-8CF4-8D13D4539024}"/>
          </ac:spMkLst>
        </pc:spChg>
        <pc:spChg chg="del">
          <ac:chgData name="Massimo Alfonzo" userId="cef0ebbf-9067-4a40-8c82-7d97e03714d2" providerId="ADAL" clId="{2C9B4535-216E-4297-80DA-8888E7FEB6CB}" dt="2022-05-28T16:19:22.244" v="791" actId="478"/>
          <ac:spMkLst>
            <pc:docMk/>
            <pc:sldMk cId="1386269732" sldId="259"/>
            <ac:spMk id="54" creationId="{A648D439-A5A2-4812-94A4-E4D7B37104C5}"/>
          </ac:spMkLst>
        </pc:spChg>
        <pc:spChg chg="del">
          <ac:chgData name="Massimo Alfonzo" userId="cef0ebbf-9067-4a40-8c82-7d97e03714d2" providerId="ADAL" clId="{2C9B4535-216E-4297-80DA-8888E7FEB6CB}" dt="2022-05-28T16:19:27.750" v="794" actId="478"/>
          <ac:spMkLst>
            <pc:docMk/>
            <pc:sldMk cId="1386269732" sldId="259"/>
            <ac:spMk id="55" creationId="{F7E3D004-278C-4C12-AC09-F1E1CE1D4882}"/>
          </ac:spMkLst>
        </pc:spChg>
        <pc:spChg chg="del">
          <ac:chgData name="Massimo Alfonzo" userId="cef0ebbf-9067-4a40-8c82-7d97e03714d2" providerId="ADAL" clId="{2C9B4535-216E-4297-80DA-8888E7FEB6CB}" dt="2022-05-28T16:19:29.203" v="795" actId="478"/>
          <ac:spMkLst>
            <pc:docMk/>
            <pc:sldMk cId="1386269732" sldId="259"/>
            <ac:spMk id="56" creationId="{79B1CB43-460C-4CA6-B7BE-9511ED5A9456}"/>
          </ac:spMkLst>
        </pc:spChg>
        <pc:spChg chg="add mod">
          <ac:chgData name="Massimo Alfonzo" userId="cef0ebbf-9067-4a40-8c82-7d97e03714d2" providerId="ADAL" clId="{2C9B4535-216E-4297-80DA-8888E7FEB6CB}" dt="2022-06-01T12:44:30.821" v="2171" actId="1037"/>
          <ac:spMkLst>
            <pc:docMk/>
            <pc:sldMk cId="1386269732" sldId="259"/>
            <ac:spMk id="57" creationId="{49869AC9-022B-7002-E783-68C0DC3077DF}"/>
          </ac:spMkLst>
        </pc:spChg>
        <pc:spChg chg="add del mod">
          <ac:chgData name="Massimo Alfonzo" userId="cef0ebbf-9067-4a40-8c82-7d97e03714d2" providerId="ADAL" clId="{2C9B4535-216E-4297-80DA-8888E7FEB6CB}" dt="2022-05-28T16:48:00.908" v="882"/>
          <ac:spMkLst>
            <pc:docMk/>
            <pc:sldMk cId="1386269732" sldId="259"/>
            <ac:spMk id="59" creationId="{BCDAADC5-471E-92A7-CE66-A20A0C4D91C1}"/>
          </ac:spMkLst>
        </pc:spChg>
        <pc:spChg chg="add mod">
          <ac:chgData name="Massimo Alfonzo" userId="cef0ebbf-9067-4a40-8c82-7d97e03714d2" providerId="ADAL" clId="{2C9B4535-216E-4297-80DA-8888E7FEB6CB}" dt="2022-06-01T12:55:09.655" v="2186" actId="1038"/>
          <ac:spMkLst>
            <pc:docMk/>
            <pc:sldMk cId="1386269732" sldId="259"/>
            <ac:spMk id="60" creationId="{567B0282-874E-788C-8F87-F81B066CC8C9}"/>
          </ac:spMkLst>
        </pc:spChg>
        <pc:spChg chg="del">
          <ac:chgData name="Massimo Alfonzo" userId="cef0ebbf-9067-4a40-8c82-7d97e03714d2" providerId="ADAL" clId="{2C9B4535-216E-4297-80DA-8888E7FEB6CB}" dt="2022-05-28T16:09:44.889" v="670" actId="478"/>
          <ac:spMkLst>
            <pc:docMk/>
            <pc:sldMk cId="1386269732" sldId="259"/>
            <ac:spMk id="61" creationId="{C686C122-46CD-4479-9A41-A579062ABA65}"/>
          </ac:spMkLst>
        </pc:spChg>
        <pc:spChg chg="del">
          <ac:chgData name="Massimo Alfonzo" userId="cef0ebbf-9067-4a40-8c82-7d97e03714d2" providerId="ADAL" clId="{2C9B4535-216E-4297-80DA-8888E7FEB6CB}" dt="2022-05-28T16:19:31.207" v="796" actId="478"/>
          <ac:spMkLst>
            <pc:docMk/>
            <pc:sldMk cId="1386269732" sldId="259"/>
            <ac:spMk id="76" creationId="{EA5A63FF-CAE3-4523-88E9-AEF5AA5A560B}"/>
          </ac:spMkLst>
        </pc:spChg>
        <pc:spChg chg="mod">
          <ac:chgData name="Massimo Alfonzo" userId="cef0ebbf-9067-4a40-8c82-7d97e03714d2" providerId="ADAL" clId="{2C9B4535-216E-4297-80DA-8888E7FEB6CB}" dt="2022-05-28T16:10:03.716" v="692" actId="20577"/>
          <ac:spMkLst>
            <pc:docMk/>
            <pc:sldMk cId="1386269732" sldId="259"/>
            <ac:spMk id="78" creationId="{DAA8AF87-948A-4B7D-8326-CEACC6C495DF}"/>
          </ac:spMkLst>
        </pc:spChg>
        <pc:grpChg chg="del">
          <ac:chgData name="Massimo Alfonzo" userId="cef0ebbf-9067-4a40-8c82-7d97e03714d2" providerId="ADAL" clId="{2C9B4535-216E-4297-80DA-8888E7FEB6CB}" dt="2022-05-28T16:14:16.638" v="778" actId="478"/>
          <ac:grpSpMkLst>
            <pc:docMk/>
            <pc:sldMk cId="1386269732" sldId="259"/>
            <ac:grpSpMk id="48" creationId="{E3448ADD-0EC3-4B03-BC00-C541B10061F3}"/>
          </ac:grpSpMkLst>
        </pc:grpChg>
        <pc:grpChg chg="del">
          <ac:chgData name="Massimo Alfonzo" userId="cef0ebbf-9067-4a40-8c82-7d97e03714d2" providerId="ADAL" clId="{2C9B4535-216E-4297-80DA-8888E7FEB6CB}" dt="2022-05-28T16:19:26.027" v="793" actId="478"/>
          <ac:grpSpMkLst>
            <pc:docMk/>
            <pc:sldMk cId="1386269732" sldId="259"/>
            <ac:grpSpMk id="62" creationId="{BAEA9F8A-D525-4CC1-ABB5-2ACFCC93C1C4}"/>
          </ac:grpSpMkLst>
        </pc:grpChg>
        <pc:grpChg chg="add del">
          <ac:chgData name="Massimo Alfonzo" userId="cef0ebbf-9067-4a40-8c82-7d97e03714d2" providerId="ADAL" clId="{2C9B4535-216E-4297-80DA-8888E7FEB6CB}" dt="2022-05-28T16:19:33.534" v="797" actId="478"/>
          <ac:grpSpMkLst>
            <pc:docMk/>
            <pc:sldMk cId="1386269732" sldId="259"/>
            <ac:grpSpMk id="68" creationId="{B9AEB73F-2F41-4487-8A33-2A51DBAB74EA}"/>
          </ac:grpSpMkLst>
        </pc:grpChg>
        <pc:graphicFrameChg chg="del">
          <ac:chgData name="Massimo Alfonzo" userId="cef0ebbf-9067-4a40-8c82-7d97e03714d2" providerId="ADAL" clId="{2C9B4535-216E-4297-80DA-8888E7FEB6CB}" dt="2022-05-28T16:14:14.013" v="776" actId="478"/>
          <ac:graphicFrameMkLst>
            <pc:docMk/>
            <pc:sldMk cId="1386269732" sldId="259"/>
            <ac:graphicFrameMk id="38" creationId="{3F2EF10D-BD04-4CFE-9A67-DAFE895337C8}"/>
          </ac:graphicFrameMkLst>
        </pc:graphicFrameChg>
        <pc:picChg chg="add mod">
          <ac:chgData name="Massimo Alfonzo" userId="cef0ebbf-9067-4a40-8c82-7d97e03714d2" providerId="ADAL" clId="{2C9B4535-216E-4297-80DA-8888E7FEB6CB}" dt="2022-05-28T16:34:08.129" v="833" actId="1076"/>
          <ac:picMkLst>
            <pc:docMk/>
            <pc:sldMk cId="1386269732" sldId="259"/>
            <ac:picMk id="5" creationId="{57741D99-2FD0-51BC-2A1C-660A68FEF407}"/>
          </ac:picMkLst>
        </pc:picChg>
        <pc:picChg chg="add mod ord modCrop">
          <ac:chgData name="Massimo Alfonzo" userId="cef0ebbf-9067-4a40-8c82-7d97e03714d2" providerId="ADAL" clId="{2C9B4535-216E-4297-80DA-8888E7FEB6CB}" dt="2022-05-28T16:35:07.347" v="837" actId="1076"/>
          <ac:picMkLst>
            <pc:docMk/>
            <pc:sldMk cId="1386269732" sldId="259"/>
            <ac:picMk id="9" creationId="{1D3D2B5C-B043-A24C-D9BC-85C939820439}"/>
          </ac:picMkLst>
        </pc:picChg>
        <pc:picChg chg="del">
          <ac:chgData name="Massimo Alfonzo" userId="cef0ebbf-9067-4a40-8c82-7d97e03714d2" providerId="ADAL" clId="{2C9B4535-216E-4297-80DA-8888E7FEB6CB}" dt="2022-05-28T16:13:41.065" v="767" actId="478"/>
          <ac:picMkLst>
            <pc:docMk/>
            <pc:sldMk cId="1386269732" sldId="259"/>
            <ac:picMk id="41" creationId="{4A834D1C-825A-4CAB-ADA8-776FCD9DACC5}"/>
          </ac:picMkLst>
        </pc:picChg>
        <pc:picChg chg="add mod">
          <ac:chgData name="Massimo Alfonzo" userId="cef0ebbf-9067-4a40-8c82-7d97e03714d2" providerId="ADAL" clId="{2C9B4535-216E-4297-80DA-8888E7FEB6CB}" dt="2022-05-28T16:47:32.306" v="867" actId="1038"/>
          <ac:picMkLst>
            <pc:docMk/>
            <pc:sldMk cId="1386269732" sldId="259"/>
            <ac:picMk id="1026" creationId="{5CF13213-0F90-485F-7E93-46B8E2BEBC63}"/>
          </ac:picMkLst>
        </pc:picChg>
      </pc:sldChg>
      <pc:sldChg chg="del">
        <pc:chgData name="Massimo Alfonzo" userId="cef0ebbf-9067-4a40-8c82-7d97e03714d2" providerId="ADAL" clId="{2C9B4535-216E-4297-80DA-8888E7FEB6CB}" dt="2022-05-31T01:05:29.384" v="1180" actId="2696"/>
        <pc:sldMkLst>
          <pc:docMk/>
          <pc:sldMk cId="3675167822" sldId="261"/>
        </pc:sldMkLst>
      </pc:sldChg>
      <pc:sldChg chg="addSp delSp modSp mod modNotesTx">
        <pc:chgData name="Massimo Alfonzo" userId="cef0ebbf-9067-4a40-8c82-7d97e03714d2" providerId="ADAL" clId="{2C9B4535-216E-4297-80DA-8888E7FEB6CB}" dt="2022-06-01T12:42:17.268" v="2160" actId="1035"/>
        <pc:sldMkLst>
          <pc:docMk/>
          <pc:sldMk cId="3922913386" sldId="262"/>
        </pc:sldMkLst>
        <pc:spChg chg="mod">
          <ac:chgData name="Massimo Alfonzo" userId="cef0ebbf-9067-4a40-8c82-7d97e03714d2" providerId="ADAL" clId="{2C9B4535-216E-4297-80DA-8888E7FEB6CB}" dt="2022-05-28T16:11:22.154" v="715" actId="20577"/>
          <ac:spMkLst>
            <pc:docMk/>
            <pc:sldMk cId="3922913386" sldId="262"/>
            <ac:spMk id="2" creationId="{C6785AE7-8B00-486C-9A8C-F571C93177E4}"/>
          </ac:spMkLst>
        </pc:spChg>
        <pc:spChg chg="mod">
          <ac:chgData name="Massimo Alfonzo" userId="cef0ebbf-9067-4a40-8c82-7d97e03714d2" providerId="ADAL" clId="{2C9B4535-216E-4297-80DA-8888E7FEB6CB}" dt="2022-06-01T11:50:59.225" v="1900" actId="113"/>
          <ac:spMkLst>
            <pc:docMk/>
            <pc:sldMk cId="3922913386" sldId="262"/>
            <ac:spMk id="3" creationId="{24AC7FCD-64F5-FA7E-9B1A-628A0C1D8725}"/>
          </ac:spMkLst>
        </pc:spChg>
        <pc:spChg chg="del mod">
          <ac:chgData name="Massimo Alfonzo" userId="cef0ebbf-9067-4a40-8c82-7d97e03714d2" providerId="ADAL" clId="{2C9B4535-216E-4297-80DA-8888E7FEB6CB}" dt="2022-05-28T16:11:48.191" v="729" actId="478"/>
          <ac:spMkLst>
            <pc:docMk/>
            <pc:sldMk cId="3922913386" sldId="262"/>
            <ac:spMk id="3" creationId="{393A6E06-557B-4D5D-B4AD-4DBC9A0149C9}"/>
          </ac:spMkLst>
        </pc:spChg>
        <pc:spChg chg="del">
          <ac:chgData name="Massimo Alfonzo" userId="cef0ebbf-9067-4a40-8c82-7d97e03714d2" providerId="ADAL" clId="{2C9B4535-216E-4297-80DA-8888E7FEB6CB}" dt="2022-05-28T16:11:55.479" v="733" actId="478"/>
          <ac:spMkLst>
            <pc:docMk/>
            <pc:sldMk cId="3922913386" sldId="262"/>
            <ac:spMk id="6" creationId="{63948DC6-3622-475D-8174-2A4785E9A46A}"/>
          </ac:spMkLst>
        </pc:spChg>
        <pc:spChg chg="mod">
          <ac:chgData name="Massimo Alfonzo" userId="cef0ebbf-9067-4a40-8c82-7d97e03714d2" providerId="ADAL" clId="{2C9B4535-216E-4297-80DA-8888E7FEB6CB}" dt="2022-06-01T12:31:17.572" v="2077" actId="113"/>
          <ac:spMkLst>
            <pc:docMk/>
            <pc:sldMk cId="3922913386" sldId="262"/>
            <ac:spMk id="8" creationId="{064619EE-A370-68AB-4517-2EDBA2701AB6}"/>
          </ac:spMkLst>
        </pc:spChg>
        <pc:spChg chg="del">
          <ac:chgData name="Massimo Alfonzo" userId="cef0ebbf-9067-4a40-8c82-7d97e03714d2" providerId="ADAL" clId="{2C9B4535-216E-4297-80DA-8888E7FEB6CB}" dt="2022-05-28T16:12:01.119" v="735" actId="478"/>
          <ac:spMkLst>
            <pc:docMk/>
            <pc:sldMk cId="3922913386" sldId="262"/>
            <ac:spMk id="8" creationId="{546C3A93-3D2E-4C38-8C24-69AEC1532964}"/>
          </ac:spMkLst>
        </pc:spChg>
        <pc:spChg chg="del">
          <ac:chgData name="Massimo Alfonzo" userId="cef0ebbf-9067-4a40-8c82-7d97e03714d2" providerId="ADAL" clId="{2C9B4535-216E-4297-80DA-8888E7FEB6CB}" dt="2022-05-28T16:11:43.832" v="726" actId="478"/>
          <ac:spMkLst>
            <pc:docMk/>
            <pc:sldMk cId="3922913386" sldId="262"/>
            <ac:spMk id="12" creationId="{E9C5B4D6-B466-4BC7-A8C8-0112FBF904A2}"/>
          </ac:spMkLst>
        </pc:spChg>
        <pc:spChg chg="del">
          <ac:chgData name="Massimo Alfonzo" userId="cef0ebbf-9067-4a40-8c82-7d97e03714d2" providerId="ADAL" clId="{2C9B4535-216E-4297-80DA-8888E7FEB6CB}" dt="2022-05-28T16:11:58.165" v="734" actId="478"/>
          <ac:spMkLst>
            <pc:docMk/>
            <pc:sldMk cId="3922913386" sldId="262"/>
            <ac:spMk id="21" creationId="{9AD800A6-B32D-4419-9468-194CEFD76599}"/>
          </ac:spMkLst>
        </pc:spChg>
        <pc:spChg chg="del">
          <ac:chgData name="Massimo Alfonzo" userId="cef0ebbf-9067-4a40-8c82-7d97e03714d2" providerId="ADAL" clId="{2C9B4535-216E-4297-80DA-8888E7FEB6CB}" dt="2022-05-28T16:11:53.014" v="732" actId="478"/>
          <ac:spMkLst>
            <pc:docMk/>
            <pc:sldMk cId="3922913386" sldId="262"/>
            <ac:spMk id="22" creationId="{3F175D78-9584-4E43-BD5C-337E0CCD9EA4}"/>
          </ac:spMkLst>
        </pc:spChg>
        <pc:picChg chg="add del mod">
          <ac:chgData name="Massimo Alfonzo" userId="cef0ebbf-9067-4a40-8c82-7d97e03714d2" providerId="ADAL" clId="{2C9B4535-216E-4297-80DA-8888E7FEB6CB}" dt="2022-05-28T16:11:34.309" v="721" actId="478"/>
          <ac:picMkLst>
            <pc:docMk/>
            <pc:sldMk cId="3922913386" sldId="262"/>
            <ac:picMk id="5" creationId="{652685AD-CFAE-4590-A66C-B12CDCF12D3A}"/>
          </ac:picMkLst>
        </pc:picChg>
        <pc:picChg chg="add del mod">
          <ac:chgData name="Massimo Alfonzo" userId="cef0ebbf-9067-4a40-8c82-7d97e03714d2" providerId="ADAL" clId="{2C9B4535-216E-4297-80DA-8888E7FEB6CB}" dt="2022-06-01T11:46:09.089" v="1766" actId="478"/>
          <ac:picMkLst>
            <pc:docMk/>
            <pc:sldMk cId="3922913386" sldId="262"/>
            <ac:picMk id="6" creationId="{C6997040-F534-295F-4711-A66BDDFB097A}"/>
          </ac:picMkLst>
        </pc:picChg>
        <pc:picChg chg="mod modCrop">
          <ac:chgData name="Massimo Alfonzo" userId="cef0ebbf-9067-4a40-8c82-7d97e03714d2" providerId="ADAL" clId="{2C9B4535-216E-4297-80DA-8888E7FEB6CB}" dt="2022-06-01T11:48:22.276" v="1783" actId="1076"/>
          <ac:picMkLst>
            <pc:docMk/>
            <pc:sldMk cId="3922913386" sldId="262"/>
            <ac:picMk id="7" creationId="{2BCA9189-98B3-975E-7B8D-849ABCA1CAAE}"/>
          </ac:picMkLst>
        </pc:picChg>
        <pc:picChg chg="del">
          <ac:chgData name="Massimo Alfonzo" userId="cef0ebbf-9067-4a40-8c82-7d97e03714d2" providerId="ADAL" clId="{2C9B4535-216E-4297-80DA-8888E7FEB6CB}" dt="2022-05-28T16:11:25.738" v="717" actId="478"/>
          <ac:picMkLst>
            <pc:docMk/>
            <pc:sldMk cId="3922913386" sldId="262"/>
            <ac:picMk id="7" creationId="{A192679D-A36D-4689-B576-7FA9DE202A93}"/>
          </ac:picMkLst>
        </pc:picChg>
        <pc:picChg chg="mod modCrop">
          <ac:chgData name="Massimo Alfonzo" userId="cef0ebbf-9067-4a40-8c82-7d97e03714d2" providerId="ADAL" clId="{2C9B4535-216E-4297-80DA-8888E7FEB6CB}" dt="2022-06-01T11:48:16.014" v="1781" actId="1076"/>
          <ac:picMkLst>
            <pc:docMk/>
            <pc:sldMk cId="3922913386" sldId="262"/>
            <ac:picMk id="9" creationId="{2BD98B9E-59E3-239A-1267-B5A0732A62B9}"/>
          </ac:picMkLst>
        </pc:picChg>
        <pc:picChg chg="del">
          <ac:chgData name="Massimo Alfonzo" userId="cef0ebbf-9067-4a40-8c82-7d97e03714d2" providerId="ADAL" clId="{2C9B4535-216E-4297-80DA-8888E7FEB6CB}" dt="2022-05-28T16:11:24.276" v="716" actId="478"/>
          <ac:picMkLst>
            <pc:docMk/>
            <pc:sldMk cId="3922913386" sldId="262"/>
            <ac:picMk id="9" creationId="{F2EB78E3-B0A6-4719-B0BC-104E821DE2C7}"/>
          </ac:picMkLst>
        </pc:picChg>
        <pc:picChg chg="del">
          <ac:chgData name="Massimo Alfonzo" userId="cef0ebbf-9067-4a40-8c82-7d97e03714d2" providerId="ADAL" clId="{2C9B4535-216E-4297-80DA-8888E7FEB6CB}" dt="2022-05-28T16:11:45.537" v="727" actId="478"/>
          <ac:picMkLst>
            <pc:docMk/>
            <pc:sldMk cId="3922913386" sldId="262"/>
            <ac:picMk id="11" creationId="{87544E58-AA42-4B3E-B22C-0F6531EFDD15}"/>
          </ac:picMkLst>
        </pc:picChg>
        <pc:picChg chg="mod">
          <ac:chgData name="Massimo Alfonzo" userId="cef0ebbf-9067-4a40-8c82-7d97e03714d2" providerId="ADAL" clId="{2C9B4535-216E-4297-80DA-8888E7FEB6CB}" dt="2022-06-01T12:42:17.268" v="2160" actId="1035"/>
          <ac:picMkLst>
            <pc:docMk/>
            <pc:sldMk cId="3922913386" sldId="262"/>
            <ac:picMk id="11" creationId="{923F020C-41CB-F1CC-5370-D2106986A430}"/>
          </ac:picMkLst>
        </pc:picChg>
        <pc:picChg chg="del">
          <ac:chgData name="Massimo Alfonzo" userId="cef0ebbf-9067-4a40-8c82-7d97e03714d2" providerId="ADAL" clId="{2C9B4535-216E-4297-80DA-8888E7FEB6CB}" dt="2022-05-28T16:11:50.169" v="730" actId="478"/>
          <ac:picMkLst>
            <pc:docMk/>
            <pc:sldMk cId="3922913386" sldId="262"/>
            <ac:picMk id="13" creationId="{D2104110-12F7-4DA2-ABF6-5AFF6BAF41C5}"/>
          </ac:picMkLst>
        </pc:picChg>
        <pc:picChg chg="del">
          <ac:chgData name="Massimo Alfonzo" userId="cef0ebbf-9067-4a40-8c82-7d97e03714d2" providerId="ADAL" clId="{2C9B4535-216E-4297-80DA-8888E7FEB6CB}" dt="2022-05-28T16:11:51.144" v="731" actId="478"/>
          <ac:picMkLst>
            <pc:docMk/>
            <pc:sldMk cId="3922913386" sldId="262"/>
            <ac:picMk id="15" creationId="{9864E43A-93F2-4D9B-A933-92A30C4E42CB}"/>
          </ac:picMkLst>
        </pc:picChg>
        <pc:picChg chg="del">
          <ac:chgData name="Massimo Alfonzo" userId="cef0ebbf-9067-4a40-8c82-7d97e03714d2" providerId="ADAL" clId="{2C9B4535-216E-4297-80DA-8888E7FEB6CB}" dt="2022-05-28T16:11:39.417" v="723" actId="478"/>
          <ac:picMkLst>
            <pc:docMk/>
            <pc:sldMk cId="3922913386" sldId="262"/>
            <ac:picMk id="16" creationId="{1BD0C08D-AB65-4A39-A65F-999DB6F01799}"/>
          </ac:picMkLst>
        </pc:picChg>
        <pc:picChg chg="del">
          <ac:chgData name="Massimo Alfonzo" userId="cef0ebbf-9067-4a40-8c82-7d97e03714d2" providerId="ADAL" clId="{2C9B4535-216E-4297-80DA-8888E7FEB6CB}" dt="2022-05-28T16:11:37.548" v="722" actId="478"/>
          <ac:picMkLst>
            <pc:docMk/>
            <pc:sldMk cId="3922913386" sldId="262"/>
            <ac:picMk id="19" creationId="{967A77D6-AFF7-41EF-BAAB-A8ADF4B5C5A1}"/>
          </ac:picMkLst>
        </pc:picChg>
        <pc:picChg chg="del mod">
          <ac:chgData name="Massimo Alfonzo" userId="cef0ebbf-9067-4a40-8c82-7d97e03714d2" providerId="ADAL" clId="{2C9B4535-216E-4297-80DA-8888E7FEB6CB}" dt="2022-05-28T16:11:40.722" v="725" actId="478"/>
          <ac:picMkLst>
            <pc:docMk/>
            <pc:sldMk cId="3922913386" sldId="262"/>
            <ac:picMk id="20" creationId="{3FB5E41A-A8C1-4D70-9C18-A317E838B9FB}"/>
          </ac:picMkLst>
        </pc:picChg>
        <pc:cxnChg chg="add mod">
          <ac:chgData name="Massimo Alfonzo" userId="cef0ebbf-9067-4a40-8c82-7d97e03714d2" providerId="ADAL" clId="{2C9B4535-216E-4297-80DA-8888E7FEB6CB}" dt="2022-06-01T11:48:33.690" v="1785" actId="1076"/>
          <ac:cxnSpMkLst>
            <pc:docMk/>
            <pc:sldMk cId="3922913386" sldId="262"/>
            <ac:cxnSpMk id="10" creationId="{FD452BBC-896C-3C6B-E8CC-3A99F4903F59}"/>
          </ac:cxnSpMkLst>
        </pc:cxnChg>
      </pc:sldChg>
      <pc:sldChg chg="delSp modSp mod modNotesTx">
        <pc:chgData name="Massimo Alfonzo" userId="cef0ebbf-9067-4a40-8c82-7d97e03714d2" providerId="ADAL" clId="{2C9B4535-216E-4297-80DA-8888E7FEB6CB}" dt="2022-06-01T12:53:40.116" v="2173" actId="20577"/>
        <pc:sldMkLst>
          <pc:docMk/>
          <pc:sldMk cId="3791195039" sldId="263"/>
        </pc:sldMkLst>
        <pc:spChg chg="mod">
          <ac:chgData name="Massimo Alfonzo" userId="cef0ebbf-9067-4a40-8c82-7d97e03714d2" providerId="ADAL" clId="{2C9B4535-216E-4297-80DA-8888E7FEB6CB}" dt="2022-05-28T16:11:14.792" v="712" actId="20577"/>
          <ac:spMkLst>
            <pc:docMk/>
            <pc:sldMk cId="3791195039" sldId="263"/>
            <ac:spMk id="2" creationId="{C6785AE7-8B00-486C-9A8C-F571C93177E4}"/>
          </ac:spMkLst>
        </pc:spChg>
        <pc:spChg chg="del mod">
          <ac:chgData name="Massimo Alfonzo" userId="cef0ebbf-9067-4a40-8c82-7d97e03714d2" providerId="ADAL" clId="{2C9B4535-216E-4297-80DA-8888E7FEB6CB}" dt="2022-05-28T16:12:07.856" v="738" actId="478"/>
          <ac:spMkLst>
            <pc:docMk/>
            <pc:sldMk cId="3791195039" sldId="263"/>
            <ac:spMk id="3" creationId="{BA17E026-28FF-4AB1-963A-F279E06DFDFE}"/>
          </ac:spMkLst>
        </pc:spChg>
        <pc:spChg chg="del">
          <ac:chgData name="Massimo Alfonzo" userId="cef0ebbf-9067-4a40-8c82-7d97e03714d2" providerId="ADAL" clId="{2C9B4535-216E-4297-80DA-8888E7FEB6CB}" dt="2022-05-28T16:12:15.870" v="745" actId="478"/>
          <ac:spMkLst>
            <pc:docMk/>
            <pc:sldMk cId="3791195039" sldId="263"/>
            <ac:spMk id="5" creationId="{8DB3BEAA-B13D-4245-8A64-B2AC40582413}"/>
          </ac:spMkLst>
        </pc:spChg>
        <pc:spChg chg="del mod">
          <ac:chgData name="Massimo Alfonzo" userId="cef0ebbf-9067-4a40-8c82-7d97e03714d2" providerId="ADAL" clId="{2C9B4535-216E-4297-80DA-8888E7FEB6CB}" dt="2022-05-28T16:12:13.654" v="744" actId="478"/>
          <ac:spMkLst>
            <pc:docMk/>
            <pc:sldMk cId="3791195039" sldId="263"/>
            <ac:spMk id="6" creationId="{18F1D501-B8A7-48F8-8075-1B6F9286775D}"/>
          </ac:spMkLst>
        </pc:spChg>
        <pc:spChg chg="mod">
          <ac:chgData name="Massimo Alfonzo" userId="cef0ebbf-9067-4a40-8c82-7d97e03714d2" providerId="ADAL" clId="{2C9B4535-216E-4297-80DA-8888E7FEB6CB}" dt="2022-06-01T12:53:40.116" v="2173" actId="20577"/>
          <ac:spMkLst>
            <pc:docMk/>
            <pc:sldMk cId="3791195039" sldId="263"/>
            <ac:spMk id="6" creationId="{9AF89EE5-5EE0-794D-3F59-78AB800D9819}"/>
          </ac:spMkLst>
        </pc:spChg>
        <pc:spChg chg="mod">
          <ac:chgData name="Massimo Alfonzo" userId="cef0ebbf-9067-4a40-8c82-7d97e03714d2" providerId="ADAL" clId="{2C9B4535-216E-4297-80DA-8888E7FEB6CB}" dt="2022-06-01T11:52:18.916" v="1924" actId="20577"/>
          <ac:spMkLst>
            <pc:docMk/>
            <pc:sldMk cId="3791195039" sldId="263"/>
            <ac:spMk id="7" creationId="{BD5BA9BD-1AA5-14C2-287A-2F62AB19A304}"/>
          </ac:spMkLst>
        </pc:spChg>
        <pc:spChg chg="del">
          <ac:chgData name="Massimo Alfonzo" userId="cef0ebbf-9067-4a40-8c82-7d97e03714d2" providerId="ADAL" clId="{2C9B4535-216E-4297-80DA-8888E7FEB6CB}" dt="2022-05-28T16:12:10.431" v="740" actId="478"/>
          <ac:spMkLst>
            <pc:docMk/>
            <pc:sldMk cId="3791195039" sldId="263"/>
            <ac:spMk id="8" creationId="{9D02DBC2-1A0D-406A-841A-3467A611866E}"/>
          </ac:spMkLst>
        </pc:spChg>
        <pc:spChg chg="del">
          <ac:chgData name="Massimo Alfonzo" userId="cef0ebbf-9067-4a40-8c82-7d97e03714d2" providerId="ADAL" clId="{2C9B4535-216E-4297-80DA-8888E7FEB6CB}" dt="2022-05-28T16:12:15.870" v="745" actId="478"/>
          <ac:spMkLst>
            <pc:docMk/>
            <pc:sldMk cId="3791195039" sldId="263"/>
            <ac:spMk id="9" creationId="{8656E6D8-5386-41A5-95BD-7BE26A9C77E8}"/>
          </ac:spMkLst>
        </pc:spChg>
        <pc:spChg chg="del">
          <ac:chgData name="Massimo Alfonzo" userId="cef0ebbf-9067-4a40-8c82-7d97e03714d2" providerId="ADAL" clId="{2C9B4535-216E-4297-80DA-8888E7FEB6CB}" dt="2022-05-28T16:12:15.870" v="745" actId="478"/>
          <ac:spMkLst>
            <pc:docMk/>
            <pc:sldMk cId="3791195039" sldId="263"/>
            <ac:spMk id="10" creationId="{3D5F527B-8C60-432E-992D-4BC588F25064}"/>
          </ac:spMkLst>
        </pc:spChg>
        <pc:spChg chg="del">
          <ac:chgData name="Massimo Alfonzo" userId="cef0ebbf-9067-4a40-8c82-7d97e03714d2" providerId="ADAL" clId="{2C9B4535-216E-4297-80DA-8888E7FEB6CB}" dt="2022-05-28T16:12:09.128" v="739" actId="478"/>
          <ac:spMkLst>
            <pc:docMk/>
            <pc:sldMk cId="3791195039" sldId="263"/>
            <ac:spMk id="12" creationId="{C216B7AA-11EC-43BD-9B94-05B64C6AA88F}"/>
          </ac:spMkLst>
        </pc:spChg>
        <pc:picChg chg="del">
          <ac:chgData name="Massimo Alfonzo" userId="cef0ebbf-9067-4a40-8c82-7d97e03714d2" providerId="ADAL" clId="{2C9B4535-216E-4297-80DA-8888E7FEB6CB}" dt="2022-05-28T16:12:04.275" v="736" actId="478"/>
          <ac:picMkLst>
            <pc:docMk/>
            <pc:sldMk cId="3791195039" sldId="263"/>
            <ac:picMk id="7" creationId="{F811A85E-E388-48FD-AC7F-0872649A7554}"/>
          </ac:picMkLst>
        </pc:picChg>
      </pc:sldChg>
      <pc:sldChg chg="del">
        <pc:chgData name="Massimo Alfonzo" userId="cef0ebbf-9067-4a40-8c82-7d97e03714d2" providerId="ADAL" clId="{2C9B4535-216E-4297-80DA-8888E7FEB6CB}" dt="2022-05-31T01:05:29.384" v="1180" actId="2696"/>
        <pc:sldMkLst>
          <pc:docMk/>
          <pc:sldMk cId="3554513413" sldId="264"/>
        </pc:sldMkLst>
      </pc:sldChg>
      <pc:sldChg chg="addSp delSp modSp mod">
        <pc:chgData name="Massimo Alfonzo" userId="cef0ebbf-9067-4a40-8c82-7d97e03714d2" providerId="ADAL" clId="{2C9B4535-216E-4297-80DA-8888E7FEB6CB}" dt="2022-05-28T16:31:22.839" v="829" actId="20577"/>
        <pc:sldMkLst>
          <pc:docMk/>
          <pc:sldMk cId="1320313918" sldId="265"/>
        </pc:sldMkLst>
        <pc:spChg chg="mod">
          <ac:chgData name="Massimo Alfonzo" userId="cef0ebbf-9067-4a40-8c82-7d97e03714d2" providerId="ADAL" clId="{2C9B4535-216E-4297-80DA-8888E7FEB6CB}" dt="2022-05-28T16:31:00.758" v="816" actId="20577"/>
          <ac:spMkLst>
            <pc:docMk/>
            <pc:sldMk cId="1320313918" sldId="265"/>
            <ac:spMk id="2" creationId="{C6785AE7-8B00-486C-9A8C-F571C93177E4}"/>
          </ac:spMkLst>
        </pc:spChg>
        <pc:spChg chg="del">
          <ac:chgData name="Massimo Alfonzo" userId="cef0ebbf-9067-4a40-8c82-7d97e03714d2" providerId="ADAL" clId="{2C9B4535-216E-4297-80DA-8888E7FEB6CB}" dt="2022-05-28T16:30:53.576" v="800" actId="478"/>
          <ac:spMkLst>
            <pc:docMk/>
            <pc:sldMk cId="1320313918" sldId="265"/>
            <ac:spMk id="3" creationId="{73966231-4BB8-4059-9FF7-DB715495C8BA}"/>
          </ac:spMkLst>
        </pc:spChg>
        <pc:spChg chg="del">
          <ac:chgData name="Massimo Alfonzo" userId="cef0ebbf-9067-4a40-8c82-7d97e03714d2" providerId="ADAL" clId="{2C9B4535-216E-4297-80DA-8888E7FEB6CB}" dt="2022-05-28T16:30:53.576" v="800" actId="478"/>
          <ac:spMkLst>
            <pc:docMk/>
            <pc:sldMk cId="1320313918" sldId="265"/>
            <ac:spMk id="6" creationId="{7B5EBFE2-4A87-454C-A637-765980F84873}"/>
          </ac:spMkLst>
        </pc:spChg>
        <pc:spChg chg="del">
          <ac:chgData name="Massimo Alfonzo" userId="cef0ebbf-9067-4a40-8c82-7d97e03714d2" providerId="ADAL" clId="{2C9B4535-216E-4297-80DA-8888E7FEB6CB}" dt="2022-05-28T16:30:53.576" v="800" actId="478"/>
          <ac:spMkLst>
            <pc:docMk/>
            <pc:sldMk cId="1320313918" sldId="265"/>
            <ac:spMk id="7" creationId="{6CDB0145-55D5-4D79-AC46-07EAF11F8C85}"/>
          </ac:spMkLst>
        </pc:spChg>
        <pc:spChg chg="del">
          <ac:chgData name="Massimo Alfonzo" userId="cef0ebbf-9067-4a40-8c82-7d97e03714d2" providerId="ADAL" clId="{2C9B4535-216E-4297-80DA-8888E7FEB6CB}" dt="2022-05-28T16:30:53.576" v="800" actId="478"/>
          <ac:spMkLst>
            <pc:docMk/>
            <pc:sldMk cId="1320313918" sldId="265"/>
            <ac:spMk id="8" creationId="{56F480C1-BA66-4A72-BAB0-F8382F77D777}"/>
          </ac:spMkLst>
        </pc:spChg>
        <pc:spChg chg="del">
          <ac:chgData name="Massimo Alfonzo" userId="cef0ebbf-9067-4a40-8c82-7d97e03714d2" providerId="ADAL" clId="{2C9B4535-216E-4297-80DA-8888E7FEB6CB}" dt="2022-05-28T16:30:53.576" v="800" actId="478"/>
          <ac:spMkLst>
            <pc:docMk/>
            <pc:sldMk cId="1320313918" sldId="265"/>
            <ac:spMk id="9" creationId="{C47887BA-DEAB-4639-9D80-0EE5017C80CA}"/>
          </ac:spMkLst>
        </pc:spChg>
        <pc:spChg chg="del">
          <ac:chgData name="Massimo Alfonzo" userId="cef0ebbf-9067-4a40-8c82-7d97e03714d2" providerId="ADAL" clId="{2C9B4535-216E-4297-80DA-8888E7FEB6CB}" dt="2022-05-28T16:30:53.576" v="800" actId="478"/>
          <ac:spMkLst>
            <pc:docMk/>
            <pc:sldMk cId="1320313918" sldId="265"/>
            <ac:spMk id="10" creationId="{C4E13FC2-409A-4064-A129-DD24DD8F5F50}"/>
          </ac:spMkLst>
        </pc:spChg>
        <pc:spChg chg="add mod">
          <ac:chgData name="Massimo Alfonzo" userId="cef0ebbf-9067-4a40-8c82-7d97e03714d2" providerId="ADAL" clId="{2C9B4535-216E-4297-80DA-8888E7FEB6CB}" dt="2022-05-28T16:31:22.839" v="829" actId="20577"/>
          <ac:spMkLst>
            <pc:docMk/>
            <pc:sldMk cId="1320313918" sldId="265"/>
            <ac:spMk id="11" creationId="{BA1B6992-312C-F7E4-EF1C-17B48236AABA}"/>
          </ac:spMkLst>
        </pc:spChg>
        <pc:spChg chg="del">
          <ac:chgData name="Massimo Alfonzo" userId="cef0ebbf-9067-4a40-8c82-7d97e03714d2" providerId="ADAL" clId="{2C9B4535-216E-4297-80DA-8888E7FEB6CB}" dt="2022-05-28T16:30:53.576" v="800" actId="478"/>
          <ac:spMkLst>
            <pc:docMk/>
            <pc:sldMk cId="1320313918" sldId="265"/>
            <ac:spMk id="12" creationId="{9D4FE005-C22D-445F-9B26-F28803CEB2D4}"/>
          </ac:spMkLst>
        </pc:spChg>
        <pc:picChg chg="del">
          <ac:chgData name="Massimo Alfonzo" userId="cef0ebbf-9067-4a40-8c82-7d97e03714d2" providerId="ADAL" clId="{2C9B4535-216E-4297-80DA-8888E7FEB6CB}" dt="2022-05-28T16:30:49.067" v="799" actId="478"/>
          <ac:picMkLst>
            <pc:docMk/>
            <pc:sldMk cId="1320313918" sldId="265"/>
            <ac:picMk id="5" creationId="{F0595D4F-08E8-48EE-92E9-BAA4B6208D3C}"/>
          </ac:picMkLst>
        </pc:picChg>
      </pc:sldChg>
      <pc:sldChg chg="del">
        <pc:chgData name="Massimo Alfonzo" userId="cef0ebbf-9067-4a40-8c82-7d97e03714d2" providerId="ADAL" clId="{2C9B4535-216E-4297-80DA-8888E7FEB6CB}" dt="2022-05-31T01:05:29.384" v="1180" actId="2696"/>
        <pc:sldMkLst>
          <pc:docMk/>
          <pc:sldMk cId="1244368863" sldId="266"/>
        </pc:sldMkLst>
      </pc:sldChg>
      <pc:sldChg chg="del">
        <pc:chgData name="Massimo Alfonzo" userId="cef0ebbf-9067-4a40-8c82-7d97e03714d2" providerId="ADAL" clId="{2C9B4535-216E-4297-80DA-8888E7FEB6CB}" dt="2022-05-31T01:05:29.384" v="1180" actId="2696"/>
        <pc:sldMkLst>
          <pc:docMk/>
          <pc:sldMk cId="1933803811" sldId="267"/>
        </pc:sldMkLst>
      </pc:sldChg>
      <pc:sldChg chg="del">
        <pc:chgData name="Massimo Alfonzo" userId="cef0ebbf-9067-4a40-8c82-7d97e03714d2" providerId="ADAL" clId="{2C9B4535-216E-4297-80DA-8888E7FEB6CB}" dt="2022-05-31T01:05:29.384" v="1180" actId="2696"/>
        <pc:sldMkLst>
          <pc:docMk/>
          <pc:sldMk cId="57104593" sldId="269"/>
        </pc:sldMkLst>
      </pc:sldChg>
      <pc:sldChg chg="addSp delSp modSp mod">
        <pc:chgData name="Massimo Alfonzo" userId="cef0ebbf-9067-4a40-8c82-7d97e03714d2" providerId="ADAL" clId="{2C9B4535-216E-4297-80DA-8888E7FEB6CB}" dt="2022-05-30T12:17:18.614" v="1072" actId="1076"/>
        <pc:sldMkLst>
          <pc:docMk/>
          <pc:sldMk cId="819387463" sldId="272"/>
        </pc:sldMkLst>
        <pc:spChg chg="mod">
          <ac:chgData name="Massimo Alfonzo" userId="cef0ebbf-9067-4a40-8c82-7d97e03714d2" providerId="ADAL" clId="{2C9B4535-216E-4297-80DA-8888E7FEB6CB}" dt="2022-05-28T16:10:19.165" v="695" actId="20577"/>
          <ac:spMkLst>
            <pc:docMk/>
            <pc:sldMk cId="819387463" sldId="272"/>
            <ac:spMk id="2" creationId="{00000000-0000-0000-0000-000000000000}"/>
          </ac:spMkLst>
        </pc:spChg>
        <pc:spChg chg="del">
          <ac:chgData name="Massimo Alfonzo" userId="cef0ebbf-9067-4a40-8c82-7d97e03714d2" providerId="ADAL" clId="{2C9B4535-216E-4297-80DA-8888E7FEB6CB}" dt="2022-05-28T16:12:40.015" v="751" actId="478"/>
          <ac:spMkLst>
            <pc:docMk/>
            <pc:sldMk cId="819387463" sldId="272"/>
            <ac:spMk id="3" creationId="{B89B3E97-2D4B-407B-9B87-71CC3C257940}"/>
          </ac:spMkLst>
        </pc:spChg>
        <pc:spChg chg="del">
          <ac:chgData name="Massimo Alfonzo" userId="cef0ebbf-9067-4a40-8c82-7d97e03714d2" providerId="ADAL" clId="{2C9B4535-216E-4297-80DA-8888E7FEB6CB}" dt="2022-05-28T16:12:51.015" v="755" actId="478"/>
          <ac:spMkLst>
            <pc:docMk/>
            <pc:sldMk cId="819387463" sldId="272"/>
            <ac:spMk id="7" creationId="{0E55E3FC-4E02-449E-96BD-19A0E8A42349}"/>
          </ac:spMkLst>
        </pc:spChg>
        <pc:spChg chg="add del">
          <ac:chgData name="Massimo Alfonzo" userId="cef0ebbf-9067-4a40-8c82-7d97e03714d2" providerId="ADAL" clId="{2C9B4535-216E-4297-80DA-8888E7FEB6CB}" dt="2022-05-28T16:50:11.814" v="972" actId="478"/>
          <ac:spMkLst>
            <pc:docMk/>
            <pc:sldMk cId="819387463" sldId="272"/>
            <ac:spMk id="10" creationId="{326E31AF-A6B1-4A89-94DD-3ECA27615CBF}"/>
          </ac:spMkLst>
        </pc:spChg>
        <pc:spChg chg="add del">
          <ac:chgData name="Massimo Alfonzo" userId="cef0ebbf-9067-4a40-8c82-7d97e03714d2" providerId="ADAL" clId="{2C9B4535-216E-4297-80DA-8888E7FEB6CB}" dt="2022-05-28T16:50:15.838" v="973" actId="478"/>
          <ac:spMkLst>
            <pc:docMk/>
            <pc:sldMk cId="819387463" sldId="272"/>
            <ac:spMk id="11" creationId="{984E7D0A-EB58-4BEF-BB21-7EEF288CFCCF}"/>
          </ac:spMkLst>
        </pc:spChg>
        <pc:spChg chg="add del mod">
          <ac:chgData name="Massimo Alfonzo" userId="cef0ebbf-9067-4a40-8c82-7d97e03714d2" providerId="ADAL" clId="{2C9B4535-216E-4297-80DA-8888E7FEB6CB}" dt="2022-05-29T16:40:34.220" v="1063" actId="478"/>
          <ac:spMkLst>
            <pc:docMk/>
            <pc:sldMk cId="819387463" sldId="272"/>
            <ac:spMk id="13" creationId="{47B57FE6-5FB0-2177-2AF9-3B582FEBF7C7}"/>
          </ac:spMkLst>
        </pc:spChg>
        <pc:spChg chg="add del mod">
          <ac:chgData name="Massimo Alfonzo" userId="cef0ebbf-9067-4a40-8c82-7d97e03714d2" providerId="ADAL" clId="{2C9B4535-216E-4297-80DA-8888E7FEB6CB}" dt="2022-05-29T16:40:37.900" v="1064" actId="478"/>
          <ac:spMkLst>
            <pc:docMk/>
            <pc:sldMk cId="819387463" sldId="272"/>
            <ac:spMk id="15" creationId="{C0BDE839-B12B-C734-276D-7B0D286502BE}"/>
          </ac:spMkLst>
        </pc:spChg>
        <pc:spChg chg="del">
          <ac:chgData name="Massimo Alfonzo" userId="cef0ebbf-9067-4a40-8c82-7d97e03714d2" providerId="ADAL" clId="{2C9B4535-216E-4297-80DA-8888E7FEB6CB}" dt="2022-05-28T16:13:04.516" v="760" actId="478"/>
          <ac:spMkLst>
            <pc:docMk/>
            <pc:sldMk cId="819387463" sldId="272"/>
            <ac:spMk id="30" creationId="{D0F1ADDE-770A-4703-BACD-A5DCACA6B224}"/>
          </ac:spMkLst>
        </pc:spChg>
        <pc:spChg chg="del">
          <ac:chgData name="Massimo Alfonzo" userId="cef0ebbf-9067-4a40-8c82-7d97e03714d2" providerId="ADAL" clId="{2C9B4535-216E-4297-80DA-8888E7FEB6CB}" dt="2022-05-28T16:12:40.015" v="751" actId="478"/>
          <ac:spMkLst>
            <pc:docMk/>
            <pc:sldMk cId="819387463" sldId="272"/>
            <ac:spMk id="40" creationId="{BAC75E10-D27F-49B7-93C0-80662ACE0581}"/>
          </ac:spMkLst>
        </pc:spChg>
        <pc:spChg chg="del">
          <ac:chgData name="Massimo Alfonzo" userId="cef0ebbf-9067-4a40-8c82-7d97e03714d2" providerId="ADAL" clId="{2C9B4535-216E-4297-80DA-8888E7FEB6CB}" dt="2022-05-28T16:12:40.015" v="751" actId="478"/>
          <ac:spMkLst>
            <pc:docMk/>
            <pc:sldMk cId="819387463" sldId="272"/>
            <ac:spMk id="41" creationId="{91E38DF5-EE8F-4BF7-8626-CC7E3CCFC191}"/>
          </ac:spMkLst>
        </pc:spChg>
        <pc:grpChg chg="del">
          <ac:chgData name="Massimo Alfonzo" userId="cef0ebbf-9067-4a40-8c82-7d97e03714d2" providerId="ADAL" clId="{2C9B4535-216E-4297-80DA-8888E7FEB6CB}" dt="2022-05-28T16:12:58.629" v="758" actId="478"/>
          <ac:grpSpMkLst>
            <pc:docMk/>
            <pc:sldMk cId="819387463" sldId="272"/>
            <ac:grpSpMk id="6" creationId="{6BCCE9ED-6DBB-447A-86D5-0272523C2856}"/>
          </ac:grpSpMkLst>
        </pc:grpChg>
        <pc:grpChg chg="del">
          <ac:chgData name="Massimo Alfonzo" userId="cef0ebbf-9067-4a40-8c82-7d97e03714d2" providerId="ADAL" clId="{2C9B4535-216E-4297-80DA-8888E7FEB6CB}" dt="2022-05-28T16:12:53.857" v="756" actId="478"/>
          <ac:grpSpMkLst>
            <pc:docMk/>
            <pc:sldMk cId="819387463" sldId="272"/>
            <ac:grpSpMk id="20" creationId="{583397B2-AF50-4192-8C45-BA65E0B7724E}"/>
          </ac:grpSpMkLst>
        </pc:grpChg>
        <pc:grpChg chg="del">
          <ac:chgData name="Massimo Alfonzo" userId="cef0ebbf-9067-4a40-8c82-7d97e03714d2" providerId="ADAL" clId="{2C9B4535-216E-4297-80DA-8888E7FEB6CB}" dt="2022-05-28T16:12:56.155" v="757" actId="478"/>
          <ac:grpSpMkLst>
            <pc:docMk/>
            <pc:sldMk cId="819387463" sldId="272"/>
            <ac:grpSpMk id="21" creationId="{03B5D71C-C2AB-4C05-A645-015B1AFDFACC}"/>
          </ac:grpSpMkLst>
        </pc:grpChg>
        <pc:grpChg chg="del">
          <ac:chgData name="Massimo Alfonzo" userId="cef0ebbf-9067-4a40-8c82-7d97e03714d2" providerId="ADAL" clId="{2C9B4535-216E-4297-80DA-8888E7FEB6CB}" dt="2022-05-28T16:12:40.015" v="751" actId="478"/>
          <ac:grpSpMkLst>
            <pc:docMk/>
            <pc:sldMk cId="819387463" sldId="272"/>
            <ac:grpSpMk id="24" creationId="{23E0CF10-4491-469C-83CC-35CF4B5BD41E}"/>
          </ac:grpSpMkLst>
        </pc:grpChg>
        <pc:grpChg chg="del mod">
          <ac:chgData name="Massimo Alfonzo" userId="cef0ebbf-9067-4a40-8c82-7d97e03714d2" providerId="ADAL" clId="{2C9B4535-216E-4297-80DA-8888E7FEB6CB}" dt="2022-05-28T16:12:33.235" v="749" actId="478"/>
          <ac:grpSpMkLst>
            <pc:docMk/>
            <pc:sldMk cId="819387463" sldId="272"/>
            <ac:grpSpMk id="27" creationId="{300F2D77-30E8-4067-8618-E8AB2BEB8CB3}"/>
          </ac:grpSpMkLst>
        </pc:grpChg>
        <pc:grpChg chg="del">
          <ac:chgData name="Massimo Alfonzo" userId="cef0ebbf-9067-4a40-8c82-7d97e03714d2" providerId="ADAL" clId="{2C9B4535-216E-4297-80DA-8888E7FEB6CB}" dt="2022-05-28T16:13:18.210" v="762" actId="478"/>
          <ac:grpSpMkLst>
            <pc:docMk/>
            <pc:sldMk cId="819387463" sldId="272"/>
            <ac:grpSpMk id="32" creationId="{4E19B3EF-1307-4485-8ACA-BF5A286D9BB5}"/>
          </ac:grpSpMkLst>
        </pc:grpChg>
        <pc:grpChg chg="del">
          <ac:chgData name="Massimo Alfonzo" userId="cef0ebbf-9067-4a40-8c82-7d97e03714d2" providerId="ADAL" clId="{2C9B4535-216E-4297-80DA-8888E7FEB6CB}" dt="2022-05-28T16:12:48.957" v="754" actId="478"/>
          <ac:grpSpMkLst>
            <pc:docMk/>
            <pc:sldMk cId="819387463" sldId="272"/>
            <ac:grpSpMk id="43" creationId="{40158A26-E9BA-41D4-92E4-425F50969A75}"/>
          </ac:grpSpMkLst>
        </pc:grpChg>
        <pc:picChg chg="del mod">
          <ac:chgData name="Massimo Alfonzo" userId="cef0ebbf-9067-4a40-8c82-7d97e03714d2" providerId="ADAL" clId="{2C9B4535-216E-4297-80DA-8888E7FEB6CB}" dt="2022-05-28T16:12:44.811" v="752" actId="478"/>
          <ac:picMkLst>
            <pc:docMk/>
            <pc:sldMk cId="819387463" sldId="272"/>
            <ac:picMk id="4" creationId="{523DCC5A-0EB5-4818-8A8A-F9A3036A0910}"/>
          </ac:picMkLst>
        </pc:picChg>
        <pc:picChg chg="del">
          <ac:chgData name="Massimo Alfonzo" userId="cef0ebbf-9067-4a40-8c82-7d97e03714d2" providerId="ADAL" clId="{2C9B4535-216E-4297-80DA-8888E7FEB6CB}" dt="2022-05-28T16:12:59.995" v="759" actId="478"/>
          <ac:picMkLst>
            <pc:docMk/>
            <pc:sldMk cId="819387463" sldId="272"/>
            <ac:picMk id="8" creationId="{2BEF319E-CC79-4F3A-8EEC-762880A167DA}"/>
          </ac:picMkLst>
        </pc:picChg>
        <pc:picChg chg="add mod">
          <ac:chgData name="Massimo Alfonzo" userId="cef0ebbf-9067-4a40-8c82-7d97e03714d2" providerId="ADAL" clId="{2C9B4535-216E-4297-80DA-8888E7FEB6CB}" dt="2022-05-29T16:40:47.909" v="1069" actId="1076"/>
          <ac:picMkLst>
            <pc:docMk/>
            <pc:sldMk cId="819387463" sldId="272"/>
            <ac:picMk id="18" creationId="{4318437C-E272-8A20-5031-4C449FDAE0F9}"/>
          </ac:picMkLst>
        </pc:picChg>
        <pc:picChg chg="add mod modCrop">
          <ac:chgData name="Massimo Alfonzo" userId="cef0ebbf-9067-4a40-8c82-7d97e03714d2" providerId="ADAL" clId="{2C9B4535-216E-4297-80DA-8888E7FEB6CB}" dt="2022-05-30T12:17:18.614" v="1072" actId="1076"/>
          <ac:picMkLst>
            <pc:docMk/>
            <pc:sldMk cId="819387463" sldId="272"/>
            <ac:picMk id="47" creationId="{9A545285-6B83-ACFD-8375-BEB80C5F8C35}"/>
          </ac:picMkLst>
        </pc:picChg>
        <pc:picChg chg="del">
          <ac:chgData name="Massimo Alfonzo" userId="cef0ebbf-9067-4a40-8c82-7d97e03714d2" providerId="ADAL" clId="{2C9B4535-216E-4297-80DA-8888E7FEB6CB}" dt="2022-05-28T16:12:47.368" v="753" actId="478"/>
          <ac:picMkLst>
            <pc:docMk/>
            <pc:sldMk cId="819387463" sldId="272"/>
            <ac:picMk id="63" creationId="{74774F5A-FE54-4190-B232-15FAAA5274AD}"/>
          </ac:picMkLst>
        </pc:picChg>
      </pc:sldChg>
      <pc:sldChg chg="addSp delSp modSp mod modNotesTx">
        <pc:chgData name="Massimo Alfonzo" userId="cef0ebbf-9067-4a40-8c82-7d97e03714d2" providerId="ADAL" clId="{2C9B4535-216E-4297-80DA-8888E7FEB6CB}" dt="2022-05-31T01:04:54.418" v="1179" actId="20577"/>
        <pc:sldMkLst>
          <pc:docMk/>
          <pc:sldMk cId="3608260996" sldId="275"/>
        </pc:sldMkLst>
        <pc:spChg chg="mod">
          <ac:chgData name="Massimo Alfonzo" userId="cef0ebbf-9067-4a40-8c82-7d97e03714d2" providerId="ADAL" clId="{2C9B4535-216E-4297-80DA-8888E7FEB6CB}" dt="2022-05-28T16:10:28.607" v="702" actId="20577"/>
          <ac:spMkLst>
            <pc:docMk/>
            <pc:sldMk cId="3608260996" sldId="275"/>
            <ac:spMk id="2" creationId="{C6785AE7-8B00-486C-9A8C-F571C93177E4}"/>
          </ac:spMkLst>
        </pc:spChg>
        <pc:spChg chg="add del mod">
          <ac:chgData name="Massimo Alfonzo" userId="cef0ebbf-9067-4a40-8c82-7d97e03714d2" providerId="ADAL" clId="{2C9B4535-216E-4297-80DA-8888E7FEB6CB}" dt="2022-05-28T16:53:27.211" v="1062" actId="478"/>
          <ac:spMkLst>
            <pc:docMk/>
            <pc:sldMk cId="3608260996" sldId="275"/>
            <ac:spMk id="3" creationId="{57E4D0E8-91DF-C373-FC2A-ED73996CF296}"/>
          </ac:spMkLst>
        </pc:spChg>
        <pc:graphicFrameChg chg="del">
          <ac:chgData name="Massimo Alfonzo" userId="cef0ebbf-9067-4a40-8c82-7d97e03714d2" providerId="ADAL" clId="{2C9B4535-216E-4297-80DA-8888E7FEB6CB}" dt="2022-05-28T16:12:26.375" v="747" actId="478"/>
          <ac:graphicFrameMkLst>
            <pc:docMk/>
            <pc:sldMk cId="3608260996" sldId="275"/>
            <ac:graphicFrameMk id="7" creationId="{9B4C6C65-23F5-4CDE-9FC7-F211FF303806}"/>
          </ac:graphicFrameMkLst>
        </pc:graphicFrameChg>
        <pc:graphicFrameChg chg="del">
          <ac:chgData name="Massimo Alfonzo" userId="cef0ebbf-9067-4a40-8c82-7d97e03714d2" providerId="ADAL" clId="{2C9B4535-216E-4297-80DA-8888E7FEB6CB}" dt="2022-05-28T16:12:21.819" v="746" actId="478"/>
          <ac:graphicFrameMkLst>
            <pc:docMk/>
            <pc:sldMk cId="3608260996" sldId="275"/>
            <ac:graphicFrameMk id="8" creationId="{A1150D5E-E7DB-405A-A5EB-45C97C9976C7}"/>
          </ac:graphicFrameMkLst>
        </pc:graphicFrameChg>
        <pc:picChg chg="add mod">
          <ac:chgData name="Massimo Alfonzo" userId="cef0ebbf-9067-4a40-8c82-7d97e03714d2" providerId="ADAL" clId="{2C9B4535-216E-4297-80DA-8888E7FEB6CB}" dt="2022-05-31T01:04:01.064" v="1096" actId="1076"/>
          <ac:picMkLst>
            <pc:docMk/>
            <pc:sldMk cId="3608260996" sldId="275"/>
            <ac:picMk id="6" creationId="{B1092640-08C0-06CD-83E5-16750F36823B}"/>
          </ac:picMkLst>
        </pc:picChg>
        <pc:picChg chg="add mod">
          <ac:chgData name="Massimo Alfonzo" userId="cef0ebbf-9067-4a40-8c82-7d97e03714d2" providerId="ADAL" clId="{2C9B4535-216E-4297-80DA-8888E7FEB6CB}" dt="2022-05-31T01:03:48.327" v="1093" actId="1076"/>
          <ac:picMkLst>
            <pc:docMk/>
            <pc:sldMk cId="3608260996" sldId="275"/>
            <ac:picMk id="8" creationId="{168E2A4E-2DE5-E7A9-C689-15F0F6E3E4AE}"/>
          </ac:picMkLst>
        </pc:picChg>
        <pc:picChg chg="add del mod">
          <ac:chgData name="Massimo Alfonzo" userId="cef0ebbf-9067-4a40-8c82-7d97e03714d2" providerId="ADAL" clId="{2C9B4535-216E-4297-80DA-8888E7FEB6CB}" dt="2022-05-30T12:59:36.032" v="1076" actId="478"/>
          <ac:picMkLst>
            <pc:docMk/>
            <pc:sldMk cId="3608260996" sldId="275"/>
            <ac:picMk id="9" creationId="{AA5F70A5-B017-68D8-CBDE-0F08CA2C5FB3}"/>
          </ac:picMkLst>
        </pc:picChg>
        <pc:picChg chg="add mod">
          <ac:chgData name="Massimo Alfonzo" userId="cef0ebbf-9067-4a40-8c82-7d97e03714d2" providerId="ADAL" clId="{2C9B4535-216E-4297-80DA-8888E7FEB6CB}" dt="2022-05-31T01:03:51.846" v="1094" actId="1076"/>
          <ac:picMkLst>
            <pc:docMk/>
            <pc:sldMk cId="3608260996" sldId="275"/>
            <ac:picMk id="11" creationId="{D753BA54-1E04-DEBA-CF50-82F36E4373FD}"/>
          </ac:picMkLst>
        </pc:picChg>
      </pc:sldChg>
      <pc:sldChg chg="del">
        <pc:chgData name="Massimo Alfonzo" userId="cef0ebbf-9067-4a40-8c82-7d97e03714d2" providerId="ADAL" clId="{2C9B4535-216E-4297-80DA-8888E7FEB6CB}" dt="2022-05-31T01:05:29.384" v="1180" actId="2696"/>
        <pc:sldMkLst>
          <pc:docMk/>
          <pc:sldMk cId="1292314471" sldId="279"/>
        </pc:sldMkLst>
      </pc:sldChg>
      <pc:sldChg chg="del">
        <pc:chgData name="Massimo Alfonzo" userId="cef0ebbf-9067-4a40-8c82-7d97e03714d2" providerId="ADAL" clId="{2C9B4535-216E-4297-80DA-8888E7FEB6CB}" dt="2022-05-31T01:05:29.384" v="1180" actId="2696"/>
        <pc:sldMkLst>
          <pc:docMk/>
          <pc:sldMk cId="1348974067" sldId="280"/>
        </pc:sldMkLst>
      </pc:sldChg>
      <pc:sldChg chg="del">
        <pc:chgData name="Massimo Alfonzo" userId="cef0ebbf-9067-4a40-8c82-7d97e03714d2" providerId="ADAL" clId="{2C9B4535-216E-4297-80DA-8888E7FEB6CB}" dt="2022-05-31T01:05:29.384" v="1180" actId="2696"/>
        <pc:sldMkLst>
          <pc:docMk/>
          <pc:sldMk cId="4051971113" sldId="281"/>
        </pc:sldMkLst>
      </pc:sldChg>
      <pc:sldChg chg="addSp delSp modSp mod">
        <pc:chgData name="Massimo Alfonzo" userId="cef0ebbf-9067-4a40-8c82-7d97e03714d2" providerId="ADAL" clId="{2C9B4535-216E-4297-80DA-8888E7FEB6CB}" dt="2022-06-01T12:57:12.017" v="2206" actId="1036"/>
        <pc:sldMkLst>
          <pc:docMk/>
          <pc:sldMk cId="3279857982" sldId="282"/>
        </pc:sldMkLst>
        <pc:spChg chg="mod">
          <ac:chgData name="Massimo Alfonzo" userId="cef0ebbf-9067-4a40-8c82-7d97e03714d2" providerId="ADAL" clId="{2C9B4535-216E-4297-80DA-8888E7FEB6CB}" dt="2022-06-01T12:32:18.321" v="2078" actId="20577"/>
          <ac:spMkLst>
            <pc:docMk/>
            <pc:sldMk cId="3279857982" sldId="282"/>
            <ac:spMk id="2" creationId="{C6785AE7-8B00-486C-9A8C-F571C93177E4}"/>
          </ac:spMkLst>
        </pc:spChg>
        <pc:spChg chg="add mod ord">
          <ac:chgData name="Massimo Alfonzo" userId="cef0ebbf-9067-4a40-8c82-7d97e03714d2" providerId="ADAL" clId="{2C9B4535-216E-4297-80DA-8888E7FEB6CB}" dt="2022-06-01T12:57:12.017" v="2206" actId="1036"/>
          <ac:spMkLst>
            <pc:docMk/>
            <pc:sldMk cId="3279857982" sldId="282"/>
            <ac:spMk id="8" creationId="{5AB5D9E8-8FD5-7028-E9C4-5B88F3D0F22A}"/>
          </ac:spMkLst>
        </pc:spChg>
        <pc:spChg chg="add mod ord">
          <ac:chgData name="Massimo Alfonzo" userId="cef0ebbf-9067-4a40-8c82-7d97e03714d2" providerId="ADAL" clId="{2C9B4535-216E-4297-80DA-8888E7FEB6CB}" dt="2022-06-01T12:57:03.318" v="2202" actId="1035"/>
          <ac:spMkLst>
            <pc:docMk/>
            <pc:sldMk cId="3279857982" sldId="282"/>
            <ac:spMk id="9" creationId="{BD7FAFC0-182A-1642-4B39-792D5CFA1E06}"/>
          </ac:spMkLst>
        </pc:spChg>
        <pc:spChg chg="add mod ord">
          <ac:chgData name="Massimo Alfonzo" userId="cef0ebbf-9067-4a40-8c82-7d97e03714d2" providerId="ADAL" clId="{2C9B4535-216E-4297-80DA-8888E7FEB6CB}" dt="2022-06-01T12:57:09.159" v="2203" actId="1035"/>
          <ac:spMkLst>
            <pc:docMk/>
            <pc:sldMk cId="3279857982" sldId="282"/>
            <ac:spMk id="10" creationId="{F4105AF9-E2F9-B087-7F80-E78D5DFE782B}"/>
          </ac:spMkLst>
        </pc:spChg>
        <pc:spChg chg="mod">
          <ac:chgData name="Massimo Alfonzo" userId="cef0ebbf-9067-4a40-8c82-7d97e03714d2" providerId="ADAL" clId="{2C9B4535-216E-4297-80DA-8888E7FEB6CB}" dt="2022-06-01T12:56:23.990" v="2200" actId="20577"/>
          <ac:spMkLst>
            <pc:docMk/>
            <pc:sldMk cId="3279857982" sldId="282"/>
            <ac:spMk id="11" creationId="{BA1B6992-312C-F7E4-EF1C-17B48236AABA}"/>
          </ac:spMkLst>
        </pc:spChg>
        <pc:picChg chg="add del">
          <ac:chgData name="Massimo Alfonzo" userId="cef0ebbf-9067-4a40-8c82-7d97e03714d2" providerId="ADAL" clId="{2C9B4535-216E-4297-80DA-8888E7FEB6CB}" dt="2022-06-01T10:31:52.705" v="1733" actId="22"/>
          <ac:picMkLst>
            <pc:docMk/>
            <pc:sldMk cId="3279857982" sldId="282"/>
            <ac:picMk id="5" creationId="{FC14FB42-9D26-AAAC-1538-60B0AFC5A281}"/>
          </ac:picMkLst>
        </pc:picChg>
      </pc:sldChg>
      <pc:sldChg chg="modSp mod">
        <pc:chgData name="Massimo Alfonzo" userId="cef0ebbf-9067-4a40-8c82-7d97e03714d2" providerId="ADAL" clId="{2C9B4535-216E-4297-80DA-8888E7FEB6CB}" dt="2022-06-01T12:41:10.582" v="2100" actId="20577"/>
        <pc:sldMkLst>
          <pc:docMk/>
          <pc:sldMk cId="1369366222" sldId="287"/>
        </pc:sldMkLst>
        <pc:spChg chg="mod">
          <ac:chgData name="Massimo Alfonzo" userId="cef0ebbf-9067-4a40-8c82-7d97e03714d2" providerId="ADAL" clId="{2C9B4535-216E-4297-80DA-8888E7FEB6CB}" dt="2022-06-01T12:41:10.582" v="2100" actId="20577"/>
          <ac:spMkLst>
            <pc:docMk/>
            <pc:sldMk cId="1369366222" sldId="287"/>
            <ac:spMk id="5" creationId="{00000000-0000-0000-0000-000000000000}"/>
          </ac:spMkLst>
        </pc:spChg>
      </pc:sldChg>
      <pc:sldMasterChg chg="delSldLayout">
        <pc:chgData name="Massimo Alfonzo" userId="cef0ebbf-9067-4a40-8c82-7d97e03714d2" providerId="ADAL" clId="{2C9B4535-216E-4297-80DA-8888E7FEB6CB}" dt="2022-05-31T01:05:29.384" v="1180" actId="2696"/>
        <pc:sldMasterMkLst>
          <pc:docMk/>
          <pc:sldMasterMk cId="1119611595" sldId="2147483648"/>
        </pc:sldMasterMkLst>
        <pc:sldLayoutChg chg="del">
          <pc:chgData name="Massimo Alfonzo" userId="cef0ebbf-9067-4a40-8c82-7d97e03714d2" providerId="ADAL" clId="{2C9B4535-216E-4297-80DA-8888E7FEB6CB}" dt="2022-05-31T01:05:29.384" v="1180" actId="2696"/>
          <pc:sldLayoutMkLst>
            <pc:docMk/>
            <pc:sldMasterMk cId="1119611595" sldId="2147483648"/>
            <pc:sldLayoutMk cId="2372691519" sldId="2147483662"/>
          </pc:sldLayoutMkLst>
        </pc:sldLayoutChg>
      </pc:sldMasterChg>
    </pc:docChg>
  </pc:docChgLst>
  <pc:docChgLst>
    <pc:chgData name="Utente guest" userId="S::urn:spo:anon#3ca6124c7a618789df39d8357ecc7cd2fbbfd99bbeeca1623a969b94e6d72261::" providerId="AD" clId="Web-{2A098D4A-2A04-C855-0051-CD66C1E47A28}"/>
    <pc:docChg chg="modSld">
      <pc:chgData name="Utente guest" userId="S::urn:spo:anon#3ca6124c7a618789df39d8357ecc7cd2fbbfd99bbeeca1623a969b94e6d72261::" providerId="AD" clId="Web-{2A098D4A-2A04-C855-0051-CD66C1E47A28}" dt="2022-06-01T11:50:40.443" v="31" actId="1076"/>
      <pc:docMkLst>
        <pc:docMk/>
      </pc:docMkLst>
      <pc:sldChg chg="addSp modSp">
        <pc:chgData name="Utente guest" userId="S::urn:spo:anon#3ca6124c7a618789df39d8357ecc7cd2fbbfd99bbeeca1623a969b94e6d72261::" providerId="AD" clId="Web-{2A098D4A-2A04-C855-0051-CD66C1E47A28}" dt="2022-06-01T11:50:40.443" v="31" actId="1076"/>
        <pc:sldMkLst>
          <pc:docMk/>
          <pc:sldMk cId="3922913386" sldId="262"/>
        </pc:sldMkLst>
        <pc:spChg chg="add mod">
          <ac:chgData name="Utente guest" userId="S::urn:spo:anon#3ca6124c7a618789df39d8357ecc7cd2fbbfd99bbeeca1623a969b94e6d72261::" providerId="AD" clId="Web-{2A098D4A-2A04-C855-0051-CD66C1E47A28}" dt="2022-06-01T11:50:28.943" v="20" actId="1076"/>
          <ac:spMkLst>
            <pc:docMk/>
            <pc:sldMk cId="3922913386" sldId="262"/>
            <ac:spMk id="3" creationId="{24AC7FCD-64F5-FA7E-9B1A-628A0C1D8725}"/>
          </ac:spMkLst>
        </pc:spChg>
        <pc:spChg chg="add mod">
          <ac:chgData name="Utente guest" userId="S::urn:spo:anon#3ca6124c7a618789df39d8357ecc7cd2fbbfd99bbeeca1623a969b94e6d72261::" providerId="AD" clId="Web-{2A098D4A-2A04-C855-0051-CD66C1E47A28}" dt="2022-06-01T11:50:40.443" v="31" actId="1076"/>
          <ac:spMkLst>
            <pc:docMk/>
            <pc:sldMk cId="3922913386" sldId="262"/>
            <ac:spMk id="8" creationId="{064619EE-A370-68AB-4517-2EDBA2701AB6}"/>
          </ac:spMkLst>
        </pc:spChg>
        <pc:picChg chg="mod">
          <ac:chgData name="Utente guest" userId="S::urn:spo:anon#3ca6124c7a618789df39d8357ecc7cd2fbbfd99bbeeca1623a969b94e6d72261::" providerId="AD" clId="Web-{2A098D4A-2A04-C855-0051-CD66C1E47A28}" dt="2022-06-01T11:49:56.159" v="3" actId="1076"/>
          <ac:picMkLst>
            <pc:docMk/>
            <pc:sldMk cId="3922913386" sldId="262"/>
            <ac:picMk id="7" creationId="{2BCA9189-98B3-975E-7B8D-849ABCA1CAAE}"/>
          </ac:picMkLst>
        </pc:picChg>
        <pc:picChg chg="mod">
          <ac:chgData name="Utente guest" userId="S::urn:spo:anon#3ca6124c7a618789df39d8357ecc7cd2fbbfd99bbeeca1623a969b94e6d72261::" providerId="AD" clId="Web-{2A098D4A-2A04-C855-0051-CD66C1E47A28}" dt="2022-06-01T11:49:56.175" v="4" actId="1076"/>
          <ac:picMkLst>
            <pc:docMk/>
            <pc:sldMk cId="3922913386" sldId="262"/>
            <ac:picMk id="9" creationId="{2BD98B9E-59E3-239A-1267-B5A0732A62B9}"/>
          </ac:picMkLst>
        </pc:picChg>
        <pc:cxnChg chg="mod">
          <ac:chgData name="Utente guest" userId="S::urn:spo:anon#3ca6124c7a618789df39d8357ecc7cd2fbbfd99bbeeca1623a969b94e6d72261::" providerId="AD" clId="Web-{2A098D4A-2A04-C855-0051-CD66C1E47A28}" dt="2022-06-01T11:49:56.191" v="5" actId="1076"/>
          <ac:cxnSpMkLst>
            <pc:docMk/>
            <pc:sldMk cId="3922913386" sldId="262"/>
            <ac:cxnSpMk id="10" creationId="{FD452BBC-896C-3C6B-E8CC-3A99F4903F59}"/>
          </ac:cxnSpMkLst>
        </pc:cxnChg>
      </pc:sldChg>
      <pc:sldChg chg="modSp">
        <pc:chgData name="Utente guest" userId="S::urn:spo:anon#3ca6124c7a618789df39d8357ecc7cd2fbbfd99bbeeca1623a969b94e6d72261::" providerId="AD" clId="Web-{2A098D4A-2A04-C855-0051-CD66C1E47A28}" dt="2022-06-01T11:49:01.672" v="2" actId="20577"/>
        <pc:sldMkLst>
          <pc:docMk/>
          <pc:sldMk cId="3279857982" sldId="282"/>
        </pc:sldMkLst>
        <pc:spChg chg="mod">
          <ac:chgData name="Utente guest" userId="S::urn:spo:anon#3ca6124c7a618789df39d8357ecc7cd2fbbfd99bbeeca1623a969b94e6d72261::" providerId="AD" clId="Web-{2A098D4A-2A04-C855-0051-CD66C1E47A28}" dt="2022-06-01T11:48:42.748" v="0" actId="20577"/>
          <ac:spMkLst>
            <pc:docMk/>
            <pc:sldMk cId="3279857982" sldId="282"/>
            <ac:spMk id="2" creationId="{C6785AE7-8B00-486C-9A8C-F571C93177E4}"/>
          </ac:spMkLst>
        </pc:spChg>
        <pc:spChg chg="mod">
          <ac:chgData name="Utente guest" userId="S::urn:spo:anon#3ca6124c7a618789df39d8357ecc7cd2fbbfd99bbeeca1623a969b94e6d72261::" providerId="AD" clId="Web-{2A098D4A-2A04-C855-0051-CD66C1E47A28}" dt="2022-06-01T11:49:01.672" v="2" actId="20577"/>
          <ac:spMkLst>
            <pc:docMk/>
            <pc:sldMk cId="3279857982" sldId="282"/>
            <ac:spMk id="11" creationId="{BA1B6992-312C-F7E4-EF1C-17B48236AABA}"/>
          </ac:spMkLst>
        </pc:spChg>
      </pc:sldChg>
    </pc:docChg>
  </pc:docChgLst>
  <pc:docChgLst>
    <pc:chgData name="Massimo Alfonzo" userId="cef0ebbf-9067-4a40-8c82-7d97e03714d2" providerId="ADAL" clId="{D9FA5307-0E60-4300-AE61-521B543FA4BD}"/>
    <pc:docChg chg="undo custSel addSld delSld modSld sldOrd">
      <pc:chgData name="Massimo Alfonzo" userId="cef0ebbf-9067-4a40-8c82-7d97e03714d2" providerId="ADAL" clId="{D9FA5307-0E60-4300-AE61-521B543FA4BD}" dt="2022-05-31T01:06:13.949" v="2398" actId="20577"/>
      <pc:docMkLst>
        <pc:docMk/>
      </pc:docMkLst>
      <pc:sldChg chg="modSp mod">
        <pc:chgData name="Massimo Alfonzo" userId="cef0ebbf-9067-4a40-8c82-7d97e03714d2" providerId="ADAL" clId="{D9FA5307-0E60-4300-AE61-521B543FA4BD}" dt="2022-05-30T16:37:42.527" v="95" actId="1036"/>
        <pc:sldMkLst>
          <pc:docMk/>
          <pc:sldMk cId="223892638" sldId="257"/>
        </pc:sldMkLst>
        <pc:spChg chg="mod">
          <ac:chgData name="Massimo Alfonzo" userId="cef0ebbf-9067-4a40-8c82-7d97e03714d2" providerId="ADAL" clId="{D9FA5307-0E60-4300-AE61-521B543FA4BD}" dt="2022-05-30T16:37:42.527" v="95" actId="1036"/>
          <ac:spMkLst>
            <pc:docMk/>
            <pc:sldMk cId="223892638" sldId="257"/>
            <ac:spMk id="5" creationId="{00000000-0000-0000-0000-000000000000}"/>
          </ac:spMkLst>
        </pc:spChg>
      </pc:sldChg>
      <pc:sldChg chg="addSp modSp mod">
        <pc:chgData name="Massimo Alfonzo" userId="cef0ebbf-9067-4a40-8c82-7d97e03714d2" providerId="ADAL" clId="{D9FA5307-0E60-4300-AE61-521B543FA4BD}" dt="2022-05-30T16:37:13.193" v="84" actId="1076"/>
        <pc:sldMkLst>
          <pc:docMk/>
          <pc:sldMk cId="3383649683" sldId="258"/>
        </pc:sldMkLst>
        <pc:spChg chg="mod">
          <ac:chgData name="Massimo Alfonzo" userId="cef0ebbf-9067-4a40-8c82-7d97e03714d2" providerId="ADAL" clId="{D9FA5307-0E60-4300-AE61-521B543FA4BD}" dt="2022-05-29T14:55:11.829" v="35" actId="20577"/>
          <ac:spMkLst>
            <pc:docMk/>
            <pc:sldMk cId="3383649683" sldId="258"/>
            <ac:spMk id="3" creationId="{827646A4-F805-437B-B8F6-A36C0275D72A}"/>
          </ac:spMkLst>
        </pc:spChg>
        <pc:spChg chg="mod">
          <ac:chgData name="Massimo Alfonzo" userId="cef0ebbf-9067-4a40-8c82-7d97e03714d2" providerId="ADAL" clId="{D9FA5307-0E60-4300-AE61-521B543FA4BD}" dt="2022-05-30T16:37:09.101" v="82" actId="1076"/>
          <ac:spMkLst>
            <pc:docMk/>
            <pc:sldMk cId="3383649683" sldId="258"/>
            <ac:spMk id="4" creationId="{F5DB627B-A258-4CB9-9807-FE1A7AB8CC4C}"/>
          </ac:spMkLst>
        </pc:spChg>
        <pc:spChg chg="add mod ord">
          <ac:chgData name="Massimo Alfonzo" userId="cef0ebbf-9067-4a40-8c82-7d97e03714d2" providerId="ADAL" clId="{D9FA5307-0E60-4300-AE61-521B543FA4BD}" dt="2022-05-30T16:37:09.101" v="82" actId="1076"/>
          <ac:spMkLst>
            <pc:docMk/>
            <pc:sldMk cId="3383649683" sldId="258"/>
            <ac:spMk id="27" creationId="{28ECE99C-AD28-AB2A-DD04-17D1A60B7E1B}"/>
          </ac:spMkLst>
        </pc:spChg>
        <pc:spChg chg="add mod">
          <ac:chgData name="Massimo Alfonzo" userId="cef0ebbf-9067-4a40-8c82-7d97e03714d2" providerId="ADAL" clId="{D9FA5307-0E60-4300-AE61-521B543FA4BD}" dt="2022-05-30T16:37:09.101" v="82" actId="1076"/>
          <ac:spMkLst>
            <pc:docMk/>
            <pc:sldMk cId="3383649683" sldId="258"/>
            <ac:spMk id="29" creationId="{9A054C0B-F6D8-B4CC-677E-4C2AFDF98E61}"/>
          </ac:spMkLst>
        </pc:spChg>
        <pc:grpChg chg="mod">
          <ac:chgData name="Massimo Alfonzo" userId="cef0ebbf-9067-4a40-8c82-7d97e03714d2" providerId="ADAL" clId="{D9FA5307-0E60-4300-AE61-521B543FA4BD}" dt="2022-05-30T16:35:37.540" v="62" actId="1076"/>
          <ac:grpSpMkLst>
            <pc:docMk/>
            <pc:sldMk cId="3383649683" sldId="258"/>
            <ac:grpSpMk id="53" creationId="{9C29B757-4D8E-444C-87C4-72BAD012ABC7}"/>
          </ac:grpSpMkLst>
        </pc:grpChg>
        <pc:picChg chg="mod">
          <ac:chgData name="Massimo Alfonzo" userId="cef0ebbf-9067-4a40-8c82-7d97e03714d2" providerId="ADAL" clId="{D9FA5307-0E60-4300-AE61-521B543FA4BD}" dt="2022-05-30T16:37:13.193" v="84" actId="1076"/>
          <ac:picMkLst>
            <pc:docMk/>
            <pc:sldMk cId="3383649683" sldId="258"/>
            <ac:picMk id="9" creationId="{2EA1DE5C-03EF-ECE3-9615-0CF7DDB78A19}"/>
          </ac:picMkLst>
        </pc:picChg>
        <pc:picChg chg="add mod">
          <ac:chgData name="Massimo Alfonzo" userId="cef0ebbf-9067-4a40-8c82-7d97e03714d2" providerId="ADAL" clId="{D9FA5307-0E60-4300-AE61-521B543FA4BD}" dt="2022-05-30T16:37:11.628" v="83" actId="1076"/>
          <ac:picMkLst>
            <pc:docMk/>
            <pc:sldMk cId="3383649683" sldId="258"/>
            <ac:picMk id="30" creationId="{1ACF302A-CF17-4320-8416-FC89AC899936}"/>
          </ac:picMkLst>
        </pc:picChg>
      </pc:sldChg>
      <pc:sldChg chg="addSp delSp modSp mod modNotesTx">
        <pc:chgData name="Massimo Alfonzo" userId="cef0ebbf-9067-4a40-8c82-7d97e03714d2" providerId="ADAL" clId="{D9FA5307-0E60-4300-AE61-521B543FA4BD}" dt="2022-05-31T00:39:43.375" v="761" actId="20577"/>
        <pc:sldMkLst>
          <pc:docMk/>
          <pc:sldMk cId="1386269732" sldId="259"/>
        </pc:sldMkLst>
        <pc:spChg chg="mod ord">
          <ac:chgData name="Massimo Alfonzo" userId="cef0ebbf-9067-4a40-8c82-7d97e03714d2" providerId="ADAL" clId="{D9FA5307-0E60-4300-AE61-521B543FA4BD}" dt="2022-05-30T18:53:40.415" v="333" actId="1076"/>
          <ac:spMkLst>
            <pc:docMk/>
            <pc:sldMk cId="1386269732" sldId="259"/>
            <ac:spMk id="10" creationId="{03C5353F-CF01-DDC7-59A8-BB6D79053932}"/>
          </ac:spMkLst>
        </pc:spChg>
        <pc:spChg chg="add mod">
          <ac:chgData name="Massimo Alfonzo" userId="cef0ebbf-9067-4a40-8c82-7d97e03714d2" providerId="ADAL" clId="{D9FA5307-0E60-4300-AE61-521B543FA4BD}" dt="2022-05-29T14:55:21.661" v="39"/>
          <ac:spMkLst>
            <pc:docMk/>
            <pc:sldMk cId="1386269732" sldId="259"/>
            <ac:spMk id="17" creationId="{2A494FAE-5EFA-D3A9-A9D9-FD59F1525BE7}"/>
          </ac:spMkLst>
        </pc:spChg>
        <pc:spChg chg="del">
          <ac:chgData name="Massimo Alfonzo" userId="cef0ebbf-9067-4a40-8c82-7d97e03714d2" providerId="ADAL" clId="{D9FA5307-0E60-4300-AE61-521B543FA4BD}" dt="2022-05-29T14:55:21.533" v="38" actId="478"/>
          <ac:spMkLst>
            <pc:docMk/>
            <pc:sldMk cId="1386269732" sldId="259"/>
            <ac:spMk id="18" creationId="{DAD41FA5-D046-4EE6-B512-9F017D1CE0F7}"/>
          </ac:spMkLst>
        </pc:spChg>
        <pc:spChg chg="add mod">
          <ac:chgData name="Massimo Alfonzo" userId="cef0ebbf-9067-4a40-8c82-7d97e03714d2" providerId="ADAL" clId="{D9FA5307-0E60-4300-AE61-521B543FA4BD}" dt="2022-05-30T18:52:53.595" v="327" actId="1076"/>
          <ac:spMkLst>
            <pc:docMk/>
            <pc:sldMk cId="1386269732" sldId="259"/>
            <ac:spMk id="23" creationId="{A0415958-2F58-2656-516E-205132EBA3C0}"/>
          </ac:spMkLst>
        </pc:spChg>
        <pc:spChg chg="add mod">
          <ac:chgData name="Massimo Alfonzo" userId="cef0ebbf-9067-4a40-8c82-7d97e03714d2" providerId="ADAL" clId="{D9FA5307-0E60-4300-AE61-521B543FA4BD}" dt="2022-05-30T18:52:29.671" v="325" actId="1076"/>
          <ac:spMkLst>
            <pc:docMk/>
            <pc:sldMk cId="1386269732" sldId="259"/>
            <ac:spMk id="24" creationId="{6D445BB5-DB5D-9D69-AE05-EA6BFAB67614}"/>
          </ac:spMkLst>
        </pc:spChg>
        <pc:spChg chg="add mod">
          <ac:chgData name="Massimo Alfonzo" userId="cef0ebbf-9067-4a40-8c82-7d97e03714d2" providerId="ADAL" clId="{D9FA5307-0E60-4300-AE61-521B543FA4BD}" dt="2022-05-30T18:53:08.358" v="329" actId="1076"/>
          <ac:spMkLst>
            <pc:docMk/>
            <pc:sldMk cId="1386269732" sldId="259"/>
            <ac:spMk id="25" creationId="{AC082C69-41D1-E487-0743-04825B1EF635}"/>
          </ac:spMkLst>
        </pc:spChg>
        <pc:spChg chg="add mod">
          <ac:chgData name="Massimo Alfonzo" userId="cef0ebbf-9067-4a40-8c82-7d97e03714d2" providerId="ADAL" clId="{D9FA5307-0E60-4300-AE61-521B543FA4BD}" dt="2022-05-31T00:22:52.871" v="412" actId="1076"/>
          <ac:spMkLst>
            <pc:docMk/>
            <pc:sldMk cId="1386269732" sldId="259"/>
            <ac:spMk id="26" creationId="{04F16805-F552-D078-5ECC-88A64429556A}"/>
          </ac:spMkLst>
        </pc:spChg>
        <pc:spChg chg="add mod">
          <ac:chgData name="Massimo Alfonzo" userId="cef0ebbf-9067-4a40-8c82-7d97e03714d2" providerId="ADAL" clId="{D9FA5307-0E60-4300-AE61-521B543FA4BD}" dt="2022-05-31T00:39:23.286" v="722" actId="1076"/>
          <ac:spMkLst>
            <pc:docMk/>
            <pc:sldMk cId="1386269732" sldId="259"/>
            <ac:spMk id="29" creationId="{4BC6238C-2C30-AAD8-A34F-D75577A97C9E}"/>
          </ac:spMkLst>
        </pc:spChg>
        <pc:spChg chg="mod">
          <ac:chgData name="Massimo Alfonzo" userId="cef0ebbf-9067-4a40-8c82-7d97e03714d2" providerId="ADAL" clId="{D9FA5307-0E60-4300-AE61-521B543FA4BD}" dt="2022-05-30T18:53:22.540" v="330" actId="1076"/>
          <ac:spMkLst>
            <pc:docMk/>
            <pc:sldMk cId="1386269732" sldId="259"/>
            <ac:spMk id="57" creationId="{49869AC9-022B-7002-E783-68C0DC3077DF}"/>
          </ac:spMkLst>
        </pc:spChg>
        <pc:spChg chg="mod">
          <ac:chgData name="Massimo Alfonzo" userId="cef0ebbf-9067-4a40-8c82-7d97e03714d2" providerId="ADAL" clId="{D9FA5307-0E60-4300-AE61-521B543FA4BD}" dt="2022-05-30T18:53:40.415" v="333" actId="1076"/>
          <ac:spMkLst>
            <pc:docMk/>
            <pc:sldMk cId="1386269732" sldId="259"/>
            <ac:spMk id="60" creationId="{567B0282-874E-788C-8F87-F81B066CC8C9}"/>
          </ac:spMkLst>
        </pc:spChg>
        <pc:spChg chg="mod">
          <ac:chgData name="Massimo Alfonzo" userId="cef0ebbf-9067-4a40-8c82-7d97e03714d2" providerId="ADAL" clId="{D9FA5307-0E60-4300-AE61-521B543FA4BD}" dt="2022-05-30T18:45:17.926" v="221" actId="1076"/>
          <ac:spMkLst>
            <pc:docMk/>
            <pc:sldMk cId="1386269732" sldId="259"/>
            <ac:spMk id="78" creationId="{DAA8AF87-948A-4B7D-8326-CEACC6C495DF}"/>
          </ac:spMkLst>
        </pc:spChg>
        <pc:picChg chg="add mod">
          <ac:chgData name="Massimo Alfonzo" userId="cef0ebbf-9067-4a40-8c82-7d97e03714d2" providerId="ADAL" clId="{D9FA5307-0E60-4300-AE61-521B543FA4BD}" dt="2022-05-31T00:22:52.871" v="412" actId="1076"/>
          <ac:picMkLst>
            <pc:docMk/>
            <pc:sldMk cId="1386269732" sldId="259"/>
            <ac:picMk id="8" creationId="{5209B62D-1126-F647-586D-1872F15AD18B}"/>
          </ac:picMkLst>
        </pc:picChg>
        <pc:picChg chg="add mod">
          <ac:chgData name="Massimo Alfonzo" userId="cef0ebbf-9067-4a40-8c82-7d97e03714d2" providerId="ADAL" clId="{D9FA5307-0E60-4300-AE61-521B543FA4BD}" dt="2022-05-30T18:42:37.136" v="194" actId="1076"/>
          <ac:picMkLst>
            <pc:docMk/>
            <pc:sldMk cId="1386269732" sldId="259"/>
            <ac:picMk id="12" creationId="{C8A888BC-DE60-B07D-64FF-89A8D36D8A59}"/>
          </ac:picMkLst>
        </pc:picChg>
        <pc:picChg chg="add del">
          <ac:chgData name="Massimo Alfonzo" userId="cef0ebbf-9067-4a40-8c82-7d97e03714d2" providerId="ADAL" clId="{D9FA5307-0E60-4300-AE61-521B543FA4BD}" dt="2022-05-30T18:44:05.848" v="211" actId="478"/>
          <ac:picMkLst>
            <pc:docMk/>
            <pc:sldMk cId="1386269732" sldId="259"/>
            <ac:picMk id="14" creationId="{904A49CD-0220-A536-C6EE-8DBC503867F1}"/>
          </ac:picMkLst>
        </pc:picChg>
        <pc:picChg chg="add mod">
          <ac:chgData name="Massimo Alfonzo" userId="cef0ebbf-9067-4a40-8c82-7d97e03714d2" providerId="ADAL" clId="{D9FA5307-0E60-4300-AE61-521B543FA4BD}" dt="2022-05-30T18:53:08.358" v="329" actId="1076"/>
          <ac:picMkLst>
            <pc:docMk/>
            <pc:sldMk cId="1386269732" sldId="259"/>
            <ac:picMk id="18" creationId="{B08F49E0-B76D-D659-0E92-41CD9603C2F9}"/>
          </ac:picMkLst>
        </pc:picChg>
        <pc:picChg chg="add mod">
          <ac:chgData name="Massimo Alfonzo" userId="cef0ebbf-9067-4a40-8c82-7d97e03714d2" providerId="ADAL" clId="{D9FA5307-0E60-4300-AE61-521B543FA4BD}" dt="2022-05-31T00:22:55.823" v="413" actId="1076"/>
          <ac:picMkLst>
            <pc:docMk/>
            <pc:sldMk cId="1386269732" sldId="259"/>
            <ac:picMk id="20" creationId="{9BDD628D-3440-21E8-C9CF-F11FEABFD7FA}"/>
          </ac:picMkLst>
        </pc:picChg>
        <pc:picChg chg="mod">
          <ac:chgData name="Massimo Alfonzo" userId="cef0ebbf-9067-4a40-8c82-7d97e03714d2" providerId="ADAL" clId="{D9FA5307-0E60-4300-AE61-521B543FA4BD}" dt="2022-05-30T18:53:40.415" v="333" actId="1076"/>
          <ac:picMkLst>
            <pc:docMk/>
            <pc:sldMk cId="1386269732" sldId="259"/>
            <ac:picMk id="1026" creationId="{5CF13213-0F90-485F-7E93-46B8E2BEBC63}"/>
          </ac:picMkLst>
        </pc:picChg>
        <pc:inkChg chg="add mod">
          <ac:chgData name="Massimo Alfonzo" userId="cef0ebbf-9067-4a40-8c82-7d97e03714d2" providerId="ADAL" clId="{D9FA5307-0E60-4300-AE61-521B543FA4BD}" dt="2022-05-30T18:53:40.415" v="333" actId="1076"/>
          <ac:inkMkLst>
            <pc:docMk/>
            <pc:sldMk cId="1386269732" sldId="259"/>
            <ac:inkMk id="3" creationId="{37D7370F-92E9-86B0-43AB-B6420EA4D70C}"/>
          </ac:inkMkLst>
        </pc:inkChg>
        <pc:inkChg chg="add del">
          <ac:chgData name="Massimo Alfonzo" userId="cef0ebbf-9067-4a40-8c82-7d97e03714d2" providerId="ADAL" clId="{D9FA5307-0E60-4300-AE61-521B543FA4BD}" dt="2022-05-29T14:50:17.552" v="3" actId="9405"/>
          <ac:inkMkLst>
            <pc:docMk/>
            <pc:sldMk cId="1386269732" sldId="259"/>
            <ac:inkMk id="6" creationId="{098654FE-E5EE-505B-CDEB-6DA5D3E9BE0D}"/>
          </ac:inkMkLst>
        </pc:inkChg>
        <pc:inkChg chg="add">
          <ac:chgData name="Massimo Alfonzo" userId="cef0ebbf-9067-4a40-8c82-7d97e03714d2" providerId="ADAL" clId="{D9FA5307-0E60-4300-AE61-521B543FA4BD}" dt="2022-05-29T14:50:19.510" v="4" actId="9405"/>
          <ac:inkMkLst>
            <pc:docMk/>
            <pc:sldMk cId="1386269732" sldId="259"/>
            <ac:inkMk id="7" creationId="{73FE1789-8520-8BF8-9401-0CCF103DD9A6}"/>
          </ac:inkMkLst>
        </pc:inkChg>
        <pc:inkChg chg="add del">
          <ac:chgData name="Massimo Alfonzo" userId="cef0ebbf-9067-4a40-8c82-7d97e03714d2" providerId="ADAL" clId="{D9FA5307-0E60-4300-AE61-521B543FA4BD}" dt="2022-05-29T14:50:23.623" v="6" actId="9405"/>
          <ac:inkMkLst>
            <pc:docMk/>
            <pc:sldMk cId="1386269732" sldId="259"/>
            <ac:inkMk id="8" creationId="{F5AAF13D-478C-0ECC-122F-DA1E947D3052}"/>
          </ac:inkMkLst>
        </pc:inkChg>
        <pc:inkChg chg="add mod">
          <ac:chgData name="Massimo Alfonzo" userId="cef0ebbf-9067-4a40-8c82-7d97e03714d2" providerId="ADAL" clId="{D9FA5307-0E60-4300-AE61-521B543FA4BD}" dt="2022-05-30T18:53:40.415" v="333" actId="1076"/>
          <ac:inkMkLst>
            <pc:docMk/>
            <pc:sldMk cId="1386269732" sldId="259"/>
            <ac:inkMk id="16" creationId="{AD8290DF-8142-09FA-F669-EEB66098A9DB}"/>
          </ac:inkMkLst>
        </pc:inkChg>
      </pc:sldChg>
      <pc:sldChg chg="addSp delSp modSp mod">
        <pc:chgData name="Massimo Alfonzo" userId="cef0ebbf-9067-4a40-8c82-7d97e03714d2" providerId="ADAL" clId="{D9FA5307-0E60-4300-AE61-521B543FA4BD}" dt="2022-05-29T14:55:40.676" v="50"/>
        <pc:sldMkLst>
          <pc:docMk/>
          <pc:sldMk cId="3922913386" sldId="262"/>
        </pc:sldMkLst>
        <pc:spChg chg="add mod">
          <ac:chgData name="Massimo Alfonzo" userId="cef0ebbf-9067-4a40-8c82-7d97e03714d2" providerId="ADAL" clId="{D9FA5307-0E60-4300-AE61-521B543FA4BD}" dt="2022-05-29T14:55:40.676" v="50"/>
          <ac:spMkLst>
            <pc:docMk/>
            <pc:sldMk cId="3922913386" sldId="262"/>
            <ac:spMk id="5" creationId="{BA569905-F51D-BC1D-00FB-053C819DB6E2}"/>
          </ac:spMkLst>
        </pc:spChg>
        <pc:spChg chg="del">
          <ac:chgData name="Massimo Alfonzo" userId="cef0ebbf-9067-4a40-8c82-7d97e03714d2" providerId="ADAL" clId="{D9FA5307-0E60-4300-AE61-521B543FA4BD}" dt="2022-05-29T14:55:40.545" v="49" actId="478"/>
          <ac:spMkLst>
            <pc:docMk/>
            <pc:sldMk cId="3922913386" sldId="262"/>
            <ac:spMk id="23" creationId="{0DFBF3C9-A0CF-442E-8395-35884A175FE1}"/>
          </ac:spMkLst>
        </pc:spChg>
      </pc:sldChg>
      <pc:sldChg chg="addSp delSp modSp mod">
        <pc:chgData name="Massimo Alfonzo" userId="cef0ebbf-9067-4a40-8c82-7d97e03714d2" providerId="ADAL" clId="{D9FA5307-0E60-4300-AE61-521B543FA4BD}" dt="2022-05-29T14:55:37.536" v="48"/>
        <pc:sldMkLst>
          <pc:docMk/>
          <pc:sldMk cId="3791195039" sldId="263"/>
        </pc:sldMkLst>
        <pc:spChg chg="del">
          <ac:chgData name="Massimo Alfonzo" userId="cef0ebbf-9067-4a40-8c82-7d97e03714d2" providerId="ADAL" clId="{D9FA5307-0E60-4300-AE61-521B543FA4BD}" dt="2022-05-29T14:55:37.362" v="47" actId="478"/>
          <ac:spMkLst>
            <pc:docMk/>
            <pc:sldMk cId="3791195039" sldId="263"/>
            <ac:spMk id="18" creationId="{DAD41FA5-D046-4EE6-B512-9F017D1CE0F7}"/>
          </ac:spMkLst>
        </pc:spChg>
        <pc:spChg chg="add mod">
          <ac:chgData name="Massimo Alfonzo" userId="cef0ebbf-9067-4a40-8c82-7d97e03714d2" providerId="ADAL" clId="{D9FA5307-0E60-4300-AE61-521B543FA4BD}" dt="2022-05-29T14:55:37.536" v="48"/>
          <ac:spMkLst>
            <pc:docMk/>
            <pc:sldMk cId="3791195039" sldId="263"/>
            <ac:spMk id="21" creationId="{94BD3B13-98E8-DCEF-FEC6-5A505BDA84C6}"/>
          </ac:spMkLst>
        </pc:spChg>
      </pc:sldChg>
      <pc:sldChg chg="addSp delSp modSp mod">
        <pc:chgData name="Massimo Alfonzo" userId="cef0ebbf-9067-4a40-8c82-7d97e03714d2" providerId="ADAL" clId="{D9FA5307-0E60-4300-AE61-521B543FA4BD}" dt="2022-05-29T14:55:43.917" v="52"/>
        <pc:sldMkLst>
          <pc:docMk/>
          <pc:sldMk cId="1320313918" sldId="265"/>
        </pc:sldMkLst>
        <pc:spChg chg="add mod">
          <ac:chgData name="Massimo Alfonzo" userId="cef0ebbf-9067-4a40-8c82-7d97e03714d2" providerId="ADAL" clId="{D9FA5307-0E60-4300-AE61-521B543FA4BD}" dt="2022-05-29T14:55:43.917" v="52"/>
          <ac:spMkLst>
            <pc:docMk/>
            <pc:sldMk cId="1320313918" sldId="265"/>
            <ac:spMk id="6" creationId="{482C885E-E343-C09D-85B0-300257930BDE}"/>
          </ac:spMkLst>
        </pc:spChg>
        <pc:spChg chg="del">
          <ac:chgData name="Massimo Alfonzo" userId="cef0ebbf-9067-4a40-8c82-7d97e03714d2" providerId="ADAL" clId="{D9FA5307-0E60-4300-AE61-521B543FA4BD}" dt="2022-05-29T14:55:43.791" v="51" actId="478"/>
          <ac:spMkLst>
            <pc:docMk/>
            <pc:sldMk cId="1320313918" sldId="265"/>
            <ac:spMk id="18" creationId="{DAD41FA5-D046-4EE6-B512-9F017D1CE0F7}"/>
          </ac:spMkLst>
        </pc:spChg>
      </pc:sldChg>
      <pc:sldChg chg="del ord">
        <pc:chgData name="Massimo Alfonzo" userId="cef0ebbf-9067-4a40-8c82-7d97e03714d2" providerId="ADAL" clId="{D9FA5307-0E60-4300-AE61-521B543FA4BD}" dt="2022-05-29T14:56:10.146" v="60" actId="2696"/>
        <pc:sldMkLst>
          <pc:docMk/>
          <pc:sldMk cId="52806419" sldId="268"/>
        </pc:sldMkLst>
      </pc:sldChg>
      <pc:sldChg chg="addSp delSp modSp mod modNotesTx">
        <pc:chgData name="Massimo Alfonzo" userId="cef0ebbf-9067-4a40-8c82-7d97e03714d2" providerId="ADAL" clId="{D9FA5307-0E60-4300-AE61-521B543FA4BD}" dt="2022-05-31T00:54:17.233" v="2360" actId="20577"/>
        <pc:sldMkLst>
          <pc:docMk/>
          <pc:sldMk cId="819387463" sldId="272"/>
        </pc:sldMkLst>
        <pc:spChg chg="add del mod">
          <ac:chgData name="Massimo Alfonzo" userId="cef0ebbf-9067-4a40-8c82-7d97e03714d2" providerId="ADAL" clId="{D9FA5307-0E60-4300-AE61-521B543FA4BD}" dt="2022-05-29T14:55:26.455" v="42"/>
          <ac:spMkLst>
            <pc:docMk/>
            <pc:sldMk cId="819387463" sldId="272"/>
            <ac:spMk id="6" creationId="{DCF12D52-160B-4AB3-63F6-1B0C9F8F530D}"/>
          </ac:spMkLst>
        </pc:spChg>
        <pc:spChg chg="add mod">
          <ac:chgData name="Massimo Alfonzo" userId="cef0ebbf-9067-4a40-8c82-7d97e03714d2" providerId="ADAL" clId="{D9FA5307-0E60-4300-AE61-521B543FA4BD}" dt="2022-05-29T14:55:29.053" v="44"/>
          <ac:spMkLst>
            <pc:docMk/>
            <pc:sldMk cId="819387463" sldId="272"/>
            <ac:spMk id="7" creationId="{2CAB33AD-44CC-02F9-F9DC-C4EFDE743ECB}"/>
          </ac:spMkLst>
        </pc:spChg>
        <pc:spChg chg="del mod">
          <ac:chgData name="Massimo Alfonzo" userId="cef0ebbf-9067-4a40-8c82-7d97e03714d2" providerId="ADAL" clId="{D9FA5307-0E60-4300-AE61-521B543FA4BD}" dt="2022-05-29T14:55:27.732" v="43" actId="478"/>
          <ac:spMkLst>
            <pc:docMk/>
            <pc:sldMk cId="819387463" sldId="272"/>
            <ac:spMk id="31" creationId="{37FF6DCE-DBFF-4794-9795-71A34BAA6176}"/>
          </ac:spMkLst>
        </pc:spChg>
        <pc:picChg chg="mod">
          <ac:chgData name="Massimo Alfonzo" userId="cef0ebbf-9067-4a40-8c82-7d97e03714d2" providerId="ADAL" clId="{D9FA5307-0E60-4300-AE61-521B543FA4BD}" dt="2022-05-31T00:51:30.572" v="1801" actId="1076"/>
          <ac:picMkLst>
            <pc:docMk/>
            <pc:sldMk cId="819387463" sldId="272"/>
            <ac:picMk id="18" creationId="{4318437C-E272-8A20-5031-4C449FDAE0F9}"/>
          </ac:picMkLst>
        </pc:picChg>
        <pc:picChg chg="mod modCrop">
          <ac:chgData name="Massimo Alfonzo" userId="cef0ebbf-9067-4a40-8c82-7d97e03714d2" providerId="ADAL" clId="{D9FA5307-0E60-4300-AE61-521B543FA4BD}" dt="2022-05-31T00:51:31.986" v="1802" actId="1076"/>
          <ac:picMkLst>
            <pc:docMk/>
            <pc:sldMk cId="819387463" sldId="272"/>
            <ac:picMk id="47" creationId="{9A545285-6B83-ACFD-8375-BEB80C5F8C35}"/>
          </ac:picMkLst>
        </pc:picChg>
      </pc:sldChg>
      <pc:sldChg chg="addSp delSp modSp mod modNotesTx">
        <pc:chgData name="Massimo Alfonzo" userId="cef0ebbf-9067-4a40-8c82-7d97e03714d2" providerId="ADAL" clId="{D9FA5307-0E60-4300-AE61-521B543FA4BD}" dt="2022-05-31T01:06:13.949" v="2398" actId="20577"/>
        <pc:sldMkLst>
          <pc:docMk/>
          <pc:sldMk cId="3608260996" sldId="275"/>
        </pc:sldMkLst>
        <pc:spChg chg="add mod">
          <ac:chgData name="Massimo Alfonzo" userId="cef0ebbf-9067-4a40-8c82-7d97e03714d2" providerId="ADAL" clId="{D9FA5307-0E60-4300-AE61-521B543FA4BD}" dt="2022-05-29T14:55:33.749" v="46"/>
          <ac:spMkLst>
            <pc:docMk/>
            <pc:sldMk cId="3608260996" sldId="275"/>
            <ac:spMk id="5" creationId="{B5150012-E557-9831-A8BF-7A71349AECA4}"/>
          </ac:spMkLst>
        </pc:spChg>
        <pc:spChg chg="del">
          <ac:chgData name="Massimo Alfonzo" userId="cef0ebbf-9067-4a40-8c82-7d97e03714d2" providerId="ADAL" clId="{D9FA5307-0E60-4300-AE61-521B543FA4BD}" dt="2022-05-29T14:55:33.614" v="45" actId="478"/>
          <ac:spMkLst>
            <pc:docMk/>
            <pc:sldMk cId="3608260996" sldId="275"/>
            <ac:spMk id="18" creationId="{DAD41FA5-D046-4EE6-B512-9F017D1CE0F7}"/>
          </ac:spMkLst>
        </pc:spChg>
      </pc:sldChg>
      <pc:sldChg chg="addSp delSp modSp mod">
        <pc:chgData name="Massimo Alfonzo" userId="cef0ebbf-9067-4a40-8c82-7d97e03714d2" providerId="ADAL" clId="{D9FA5307-0E60-4300-AE61-521B543FA4BD}" dt="2022-05-29T14:55:47.900" v="54"/>
        <pc:sldMkLst>
          <pc:docMk/>
          <pc:sldMk cId="3279857982" sldId="282"/>
        </pc:sldMkLst>
        <pc:spChg chg="add mod">
          <ac:chgData name="Massimo Alfonzo" userId="cef0ebbf-9067-4a40-8c82-7d97e03714d2" providerId="ADAL" clId="{D9FA5307-0E60-4300-AE61-521B543FA4BD}" dt="2022-05-29T14:55:47.900" v="54"/>
          <ac:spMkLst>
            <pc:docMk/>
            <pc:sldMk cId="3279857982" sldId="282"/>
            <ac:spMk id="6" creationId="{D1CA889D-AB28-5576-A329-71915BBE06AA}"/>
          </ac:spMkLst>
        </pc:spChg>
        <pc:spChg chg="del">
          <ac:chgData name="Massimo Alfonzo" userId="cef0ebbf-9067-4a40-8c82-7d97e03714d2" providerId="ADAL" clId="{D9FA5307-0E60-4300-AE61-521B543FA4BD}" dt="2022-05-29T14:55:47.733" v="53" actId="478"/>
          <ac:spMkLst>
            <pc:docMk/>
            <pc:sldMk cId="3279857982" sldId="282"/>
            <ac:spMk id="18" creationId="{DAD41FA5-D046-4EE6-B512-9F017D1CE0F7}"/>
          </ac:spMkLst>
        </pc:spChg>
      </pc:sldChg>
      <pc:sldChg chg="addSp delSp modSp mod">
        <pc:chgData name="Massimo Alfonzo" userId="cef0ebbf-9067-4a40-8c82-7d97e03714d2" providerId="ADAL" clId="{D9FA5307-0E60-4300-AE61-521B543FA4BD}" dt="2022-05-30T16:39:55.448" v="114" actId="1076"/>
        <pc:sldMkLst>
          <pc:docMk/>
          <pc:sldMk cId="4066729470" sldId="283"/>
        </pc:sldMkLst>
        <pc:spChg chg="add mod">
          <ac:chgData name="Massimo Alfonzo" userId="cef0ebbf-9067-4a40-8c82-7d97e03714d2" providerId="ADAL" clId="{D9FA5307-0E60-4300-AE61-521B543FA4BD}" dt="2022-05-29T14:55:17.942" v="37"/>
          <ac:spMkLst>
            <pc:docMk/>
            <pc:sldMk cId="4066729470" sldId="283"/>
            <ac:spMk id="5" creationId="{27D00386-4C96-B4BA-44F7-3443C667A42B}"/>
          </ac:spMkLst>
        </pc:spChg>
        <pc:spChg chg="del">
          <ac:chgData name="Massimo Alfonzo" userId="cef0ebbf-9067-4a40-8c82-7d97e03714d2" providerId="ADAL" clId="{D9FA5307-0E60-4300-AE61-521B543FA4BD}" dt="2022-05-29T14:55:17.675" v="36" actId="478"/>
          <ac:spMkLst>
            <pc:docMk/>
            <pc:sldMk cId="4066729470" sldId="283"/>
            <ac:spMk id="18" creationId="{DAD41FA5-D046-4EE6-B512-9F017D1CE0F7}"/>
          </ac:spMkLst>
        </pc:spChg>
        <pc:spChg chg="mod">
          <ac:chgData name="Massimo Alfonzo" userId="cef0ebbf-9067-4a40-8c82-7d97e03714d2" providerId="ADAL" clId="{D9FA5307-0E60-4300-AE61-521B543FA4BD}" dt="2022-05-30T16:39:41.761" v="113" actId="1076"/>
          <ac:spMkLst>
            <pc:docMk/>
            <pc:sldMk cId="4066729470" sldId="283"/>
            <ac:spMk id="23" creationId="{88299878-D9BE-C334-3EC6-62D94444214A}"/>
          </ac:spMkLst>
        </pc:spChg>
        <pc:spChg chg="mod">
          <ac:chgData name="Massimo Alfonzo" userId="cef0ebbf-9067-4a40-8c82-7d97e03714d2" providerId="ADAL" clId="{D9FA5307-0E60-4300-AE61-521B543FA4BD}" dt="2022-05-30T16:39:31.372" v="112" actId="20577"/>
          <ac:spMkLst>
            <pc:docMk/>
            <pc:sldMk cId="4066729470" sldId="283"/>
            <ac:spMk id="29" creationId="{751362AF-9A53-EA02-77ED-1180B6D3CA2F}"/>
          </ac:spMkLst>
        </pc:spChg>
        <pc:spChg chg="mod">
          <ac:chgData name="Massimo Alfonzo" userId="cef0ebbf-9067-4a40-8c82-7d97e03714d2" providerId="ADAL" clId="{D9FA5307-0E60-4300-AE61-521B543FA4BD}" dt="2022-05-30T16:39:55.448" v="114" actId="1076"/>
          <ac:spMkLst>
            <pc:docMk/>
            <pc:sldMk cId="4066729470" sldId="283"/>
            <ac:spMk id="38" creationId="{5BE93A0E-106C-A1B6-5736-B5CDF7DEA526}"/>
          </ac:spMkLst>
        </pc:spChg>
      </pc:sldChg>
      <pc:sldChg chg="add del ord">
        <pc:chgData name="Massimo Alfonzo" userId="cef0ebbf-9067-4a40-8c82-7d97e03714d2" providerId="ADAL" clId="{D9FA5307-0E60-4300-AE61-521B543FA4BD}" dt="2022-05-30T16:37:57.192" v="99" actId="2696"/>
        <pc:sldMkLst>
          <pc:docMk/>
          <pc:sldMk cId="2497492912" sldId="284"/>
        </pc:sldMkLst>
      </pc:sldChg>
      <pc:sldChg chg="modSp mod modNotesTx">
        <pc:chgData name="Massimo Alfonzo" userId="cef0ebbf-9067-4a40-8c82-7d97e03714d2" providerId="ADAL" clId="{D9FA5307-0E60-4300-AE61-521B543FA4BD}" dt="2022-05-31T00:47:05.533" v="1311" actId="20577"/>
        <pc:sldMkLst>
          <pc:docMk/>
          <pc:sldMk cId="416251179" sldId="285"/>
        </pc:sldMkLst>
        <pc:cxnChg chg="mod">
          <ac:chgData name="Massimo Alfonzo" userId="cef0ebbf-9067-4a40-8c82-7d97e03714d2" providerId="ADAL" clId="{D9FA5307-0E60-4300-AE61-521B543FA4BD}" dt="2022-05-31T00:41:51.092" v="879" actId="208"/>
          <ac:cxnSpMkLst>
            <pc:docMk/>
            <pc:sldMk cId="416251179" sldId="285"/>
            <ac:cxnSpMk id="23" creationId="{80FBE4FE-7A23-2C33-5C0E-7E78F11FF048}"/>
          </ac:cxnSpMkLst>
        </pc:cxnChg>
        <pc:cxnChg chg="mod">
          <ac:chgData name="Massimo Alfonzo" userId="cef0ebbf-9067-4a40-8c82-7d97e03714d2" providerId="ADAL" clId="{D9FA5307-0E60-4300-AE61-521B543FA4BD}" dt="2022-05-31T00:41:46.634" v="878" actId="208"/>
          <ac:cxnSpMkLst>
            <pc:docMk/>
            <pc:sldMk cId="416251179" sldId="285"/>
            <ac:cxnSpMk id="25" creationId="{2E46FAE3-0AAA-9D30-ED1E-E1811BF84850}"/>
          </ac:cxnSpMkLst>
        </pc:cxnChg>
        <pc:cxnChg chg="mod">
          <ac:chgData name="Massimo Alfonzo" userId="cef0ebbf-9067-4a40-8c82-7d97e03714d2" providerId="ADAL" clId="{D9FA5307-0E60-4300-AE61-521B543FA4BD}" dt="2022-05-31T00:41:39.435" v="877" actId="208"/>
          <ac:cxnSpMkLst>
            <pc:docMk/>
            <pc:sldMk cId="416251179" sldId="285"/>
            <ac:cxnSpMk id="27" creationId="{BD56A37C-D6C0-896E-A9DE-AA5A2C73BBE7}"/>
          </ac:cxnSpMkLst>
        </pc:cxnChg>
        <pc:cxnChg chg="mod">
          <ac:chgData name="Massimo Alfonzo" userId="cef0ebbf-9067-4a40-8c82-7d97e03714d2" providerId="ADAL" clId="{D9FA5307-0E60-4300-AE61-521B543FA4BD}" dt="2022-05-31T00:41:31.309" v="876" actId="208"/>
          <ac:cxnSpMkLst>
            <pc:docMk/>
            <pc:sldMk cId="416251179" sldId="285"/>
            <ac:cxnSpMk id="30" creationId="{7EBC5E13-1FAD-AE19-BFB2-F9BAB3753254}"/>
          </ac:cxnSpMkLst>
        </pc:cxnChg>
      </pc:sldChg>
      <pc:sldChg chg="modSp mod modNotesTx">
        <pc:chgData name="Massimo Alfonzo" userId="cef0ebbf-9067-4a40-8c82-7d97e03714d2" providerId="ADAL" clId="{D9FA5307-0E60-4300-AE61-521B543FA4BD}" dt="2022-05-31T00:51:20.942" v="1800" actId="20577"/>
        <pc:sldMkLst>
          <pc:docMk/>
          <pc:sldMk cId="10835379" sldId="286"/>
        </pc:sldMkLst>
        <pc:cxnChg chg="mod">
          <ac:chgData name="Massimo Alfonzo" userId="cef0ebbf-9067-4a40-8c82-7d97e03714d2" providerId="ADAL" clId="{D9FA5307-0E60-4300-AE61-521B543FA4BD}" dt="2022-05-31T00:47:20.130" v="1312" actId="208"/>
          <ac:cxnSpMkLst>
            <pc:docMk/>
            <pc:sldMk cId="10835379" sldId="286"/>
            <ac:cxnSpMk id="11" creationId="{5A07A60E-8E3E-3437-7E5E-EA98AC6C1AA8}"/>
          </ac:cxnSpMkLst>
        </pc:cxnChg>
      </pc:sldChg>
      <pc:sldChg chg="add ord">
        <pc:chgData name="Massimo Alfonzo" userId="cef0ebbf-9067-4a40-8c82-7d97e03714d2" providerId="ADAL" clId="{D9FA5307-0E60-4300-AE61-521B543FA4BD}" dt="2022-05-30T16:37:54.261" v="98"/>
        <pc:sldMkLst>
          <pc:docMk/>
          <pc:sldMk cId="1369366222" sldId="287"/>
        </pc:sldMkLst>
      </pc:sldChg>
    </pc:docChg>
  </pc:docChgLst>
  <pc:docChgLst>
    <pc:chgData name="Massimo Alfonzo" userId="S::10628590@polimi.it::cef0ebbf-9067-4a40-8c82-7d97e03714d2" providerId="AD" clId="Web-{BFE6FD7E-6F30-EAC4-1354-595573F5F648}"/>
    <pc:docChg chg="mod">
      <pc:chgData name="Massimo Alfonzo" userId="S::10628590@polimi.it::cef0ebbf-9067-4a40-8c82-7d97e03714d2" providerId="AD" clId="Web-{BFE6FD7E-6F30-EAC4-1354-595573F5F648}" dt="2022-07-11T13:29:44.125" v="1"/>
      <pc:docMkLst>
        <pc:docMk/>
      </pc:docMkLst>
      <pc:sldChg chg="modCm">
        <pc:chgData name="Massimo Alfonzo" userId="S::10628590@polimi.it::cef0ebbf-9067-4a40-8c82-7d97e03714d2" providerId="AD" clId="Web-{BFE6FD7E-6F30-EAC4-1354-595573F5F648}" dt="2022-07-11T13:29:44.125" v="1"/>
        <pc:sldMkLst>
          <pc:docMk/>
          <pc:sldMk cId="2999950534" sldId="294"/>
        </pc:sldMkLst>
      </pc:sldChg>
    </pc:docChg>
  </pc:docChgLst>
  <pc:docChgLst>
    <pc:chgData name="Patrick Alexander Franke" userId="423e9112-617d-4b87-a2e3-99cbfd97dbec" providerId="ADAL" clId="{76594E52-3920-453B-A9AF-B690723259B3}"/>
    <pc:docChg chg="undo redo custSel addSld delSld modSld sldOrd modMainMaster replTag">
      <pc:chgData name="Patrick Alexander Franke" userId="423e9112-617d-4b87-a2e3-99cbfd97dbec" providerId="ADAL" clId="{76594E52-3920-453B-A9AF-B690723259B3}" dt="2022-07-13T23:09:04.651" v="6978"/>
      <pc:docMkLst>
        <pc:docMk/>
      </pc:docMkLst>
      <pc:sldChg chg="modSp mod">
        <pc:chgData name="Patrick Alexander Franke" userId="423e9112-617d-4b87-a2e3-99cbfd97dbec" providerId="ADAL" clId="{76594E52-3920-453B-A9AF-B690723259B3}" dt="2022-07-11T10:19:42.015" v="0" actId="20577"/>
        <pc:sldMkLst>
          <pc:docMk/>
          <pc:sldMk cId="223892638" sldId="257"/>
        </pc:sldMkLst>
        <pc:spChg chg="mod">
          <ac:chgData name="Patrick Alexander Franke" userId="423e9112-617d-4b87-a2e3-99cbfd97dbec" providerId="ADAL" clId="{76594E52-3920-453B-A9AF-B690723259B3}" dt="2022-07-11T10:19:42.015" v="0" actId="20577"/>
          <ac:spMkLst>
            <pc:docMk/>
            <pc:sldMk cId="223892638" sldId="257"/>
            <ac:spMk id="11" creationId="{00000000-0000-0000-0000-000000000000}"/>
          </ac:spMkLst>
        </pc:spChg>
      </pc:sldChg>
      <pc:sldChg chg="modSp mod">
        <pc:chgData name="Patrick Alexander Franke" userId="423e9112-617d-4b87-a2e3-99cbfd97dbec" providerId="ADAL" clId="{76594E52-3920-453B-A9AF-B690723259B3}" dt="2022-07-11T10:20:58.587" v="9" actId="20577"/>
        <pc:sldMkLst>
          <pc:docMk/>
          <pc:sldMk cId="3383649683" sldId="258"/>
        </pc:sldMkLst>
        <pc:spChg chg="mod">
          <ac:chgData name="Patrick Alexander Franke" userId="423e9112-617d-4b87-a2e3-99cbfd97dbec" providerId="ADAL" clId="{76594E52-3920-453B-A9AF-B690723259B3}" dt="2022-07-11T10:20:58.587" v="9" actId="20577"/>
          <ac:spMkLst>
            <pc:docMk/>
            <pc:sldMk cId="3383649683" sldId="258"/>
            <ac:spMk id="4" creationId="{F5DB627B-A258-4CB9-9807-FE1A7AB8CC4C}"/>
          </ac:spMkLst>
        </pc:spChg>
      </pc:sldChg>
      <pc:sldChg chg="ord">
        <pc:chgData name="Patrick Alexander Franke" userId="423e9112-617d-4b87-a2e3-99cbfd97dbec" providerId="ADAL" clId="{76594E52-3920-453B-A9AF-B690723259B3}" dt="2022-07-13T23:08:58.449" v="6976"/>
        <pc:sldMkLst>
          <pc:docMk/>
          <pc:sldMk cId="3922913386" sldId="262"/>
        </pc:sldMkLst>
      </pc:sldChg>
      <pc:sldChg chg="addSp delSp modSp mod modAnim">
        <pc:chgData name="Patrick Alexander Franke" userId="423e9112-617d-4b87-a2e3-99cbfd97dbec" providerId="ADAL" clId="{76594E52-3920-453B-A9AF-B690723259B3}" dt="2022-07-13T17:37:37.914" v="6479"/>
        <pc:sldMkLst>
          <pc:docMk/>
          <pc:sldMk cId="4285127156" sldId="288"/>
        </pc:sldMkLst>
        <pc:spChg chg="mod">
          <ac:chgData name="Patrick Alexander Franke" userId="423e9112-617d-4b87-a2e3-99cbfd97dbec" providerId="ADAL" clId="{76594E52-3920-453B-A9AF-B690723259B3}" dt="2022-07-11T13:18:07.239" v="5743" actId="20577"/>
          <ac:spMkLst>
            <pc:docMk/>
            <pc:sldMk cId="4285127156" sldId="288"/>
            <ac:spMk id="2" creationId="{C6785AE7-8B00-486C-9A8C-F571C93177E4}"/>
          </ac:spMkLst>
        </pc:spChg>
        <pc:spChg chg="add del mod modVis">
          <ac:chgData name="Patrick Alexander Franke" userId="423e9112-617d-4b87-a2e3-99cbfd97dbec" providerId="ADAL" clId="{76594E52-3920-453B-A9AF-B690723259B3}" dt="2022-07-11T12:06:59.915" v="1196"/>
          <ac:spMkLst>
            <pc:docMk/>
            <pc:sldMk cId="4285127156" sldId="288"/>
            <ac:spMk id="3" creationId="{0B042C95-7060-1854-29D4-F0846555D4C4}"/>
          </ac:spMkLst>
        </pc:spChg>
        <pc:spChg chg="add del mod modVis">
          <ac:chgData name="Patrick Alexander Franke" userId="423e9112-617d-4b87-a2e3-99cbfd97dbec" providerId="ADAL" clId="{76594E52-3920-453B-A9AF-B690723259B3}" dt="2022-07-11T12:07:01.175" v="1260"/>
          <ac:spMkLst>
            <pc:docMk/>
            <pc:sldMk cId="4285127156" sldId="288"/>
            <ac:spMk id="8" creationId="{CB5A99C9-6930-9A40-EEDF-7C4EB8EE1CB4}"/>
          </ac:spMkLst>
        </pc:spChg>
        <pc:spChg chg="add mod">
          <ac:chgData name="Patrick Alexander Franke" userId="423e9112-617d-4b87-a2e3-99cbfd97dbec" providerId="ADAL" clId="{76594E52-3920-453B-A9AF-B690723259B3}" dt="2022-07-11T11:57:48.347" v="635" actId="1036"/>
          <ac:spMkLst>
            <pc:docMk/>
            <pc:sldMk cId="4285127156" sldId="288"/>
            <ac:spMk id="10" creationId="{2C449833-C45A-755C-3F4D-3EE7D6B6D03F}"/>
          </ac:spMkLst>
        </pc:spChg>
        <pc:spChg chg="mod">
          <ac:chgData name="Patrick Alexander Franke" userId="423e9112-617d-4b87-a2e3-99cbfd97dbec" providerId="ADAL" clId="{76594E52-3920-453B-A9AF-B690723259B3}" dt="2022-07-11T11:57:48.347" v="635" actId="1036"/>
          <ac:spMkLst>
            <pc:docMk/>
            <pc:sldMk cId="4285127156" sldId="288"/>
            <ac:spMk id="13" creationId="{F53F6AE3-79B5-5F7F-4CF7-1C4883098654}"/>
          </ac:spMkLst>
        </pc:spChg>
        <pc:spChg chg="add del mod modVis">
          <ac:chgData name="Patrick Alexander Franke" userId="423e9112-617d-4b87-a2e3-99cbfd97dbec" providerId="ADAL" clId="{76594E52-3920-453B-A9AF-B690723259B3}" dt="2022-07-11T12:07:02.038" v="1308"/>
          <ac:spMkLst>
            <pc:docMk/>
            <pc:sldMk cId="4285127156" sldId="288"/>
            <ac:spMk id="14" creationId="{957A6B5E-B52D-02D0-D1FF-6A3E28451B2C}"/>
          </ac:spMkLst>
        </pc:spChg>
        <pc:spChg chg="add del mod modVis">
          <ac:chgData name="Patrick Alexander Franke" userId="423e9112-617d-4b87-a2e3-99cbfd97dbec" providerId="ADAL" clId="{76594E52-3920-453B-A9AF-B690723259B3}" dt="2022-07-11T12:08:18.269" v="1724"/>
          <ac:spMkLst>
            <pc:docMk/>
            <pc:sldMk cId="4285127156" sldId="288"/>
            <ac:spMk id="15" creationId="{CE2005B0-A9F6-C59B-478F-BBFE245E6285}"/>
          </ac:spMkLst>
        </pc:spChg>
        <pc:spChg chg="add del mod modVis">
          <ac:chgData name="Patrick Alexander Franke" userId="423e9112-617d-4b87-a2e3-99cbfd97dbec" providerId="ADAL" clId="{76594E52-3920-453B-A9AF-B690723259B3}" dt="2022-07-11T12:08:19.102" v="1769"/>
          <ac:spMkLst>
            <pc:docMk/>
            <pc:sldMk cId="4285127156" sldId="288"/>
            <ac:spMk id="16" creationId="{FEC1E3BB-36E7-4B48-5725-8B58EFD53529}"/>
          </ac:spMkLst>
        </pc:spChg>
        <pc:spChg chg="add del mod modVis">
          <ac:chgData name="Patrick Alexander Franke" userId="423e9112-617d-4b87-a2e3-99cbfd97dbec" providerId="ADAL" clId="{76594E52-3920-453B-A9AF-B690723259B3}" dt="2022-07-11T12:08:20.384" v="1814"/>
          <ac:spMkLst>
            <pc:docMk/>
            <pc:sldMk cId="4285127156" sldId="288"/>
            <ac:spMk id="17" creationId="{85A6A32D-5714-D6A5-33C7-301DCE704451}"/>
          </ac:spMkLst>
        </pc:spChg>
        <pc:spChg chg="add del mod modVis">
          <ac:chgData name="Patrick Alexander Franke" userId="423e9112-617d-4b87-a2e3-99cbfd97dbec" providerId="ADAL" clId="{76594E52-3920-453B-A9AF-B690723259B3}" dt="2022-07-11T13:13:47.798" v="4488"/>
          <ac:spMkLst>
            <pc:docMk/>
            <pc:sldMk cId="4285127156" sldId="288"/>
            <ac:spMk id="18" creationId="{CE1DFA42-953A-E2C2-CA8C-9A3522604891}"/>
          </ac:spMkLst>
        </pc:spChg>
        <pc:spChg chg="add del mod modVis">
          <ac:chgData name="Patrick Alexander Franke" userId="423e9112-617d-4b87-a2e3-99cbfd97dbec" providerId="ADAL" clId="{76594E52-3920-453B-A9AF-B690723259B3}" dt="2022-07-11T13:13:48.583" v="4540"/>
          <ac:spMkLst>
            <pc:docMk/>
            <pc:sldMk cId="4285127156" sldId="288"/>
            <ac:spMk id="19" creationId="{321839DF-A9BD-6B22-471E-CBC745BC9E79}"/>
          </ac:spMkLst>
        </pc:spChg>
        <pc:spChg chg="add del mod modVis">
          <ac:chgData name="Patrick Alexander Franke" userId="423e9112-617d-4b87-a2e3-99cbfd97dbec" providerId="ADAL" clId="{76594E52-3920-453B-A9AF-B690723259B3}" dt="2022-07-11T13:13:50.116" v="4589"/>
          <ac:spMkLst>
            <pc:docMk/>
            <pc:sldMk cId="4285127156" sldId="288"/>
            <ac:spMk id="20" creationId="{C022A9B1-76E3-1D15-4662-760C67C4F19D}"/>
          </ac:spMkLst>
        </pc:spChg>
        <pc:spChg chg="add del mod modVis">
          <ac:chgData name="Patrick Alexander Franke" userId="423e9112-617d-4b87-a2e3-99cbfd97dbec" providerId="ADAL" clId="{76594E52-3920-453B-A9AF-B690723259B3}" dt="2022-07-11T13:13:52.141" v="4639"/>
          <ac:spMkLst>
            <pc:docMk/>
            <pc:sldMk cId="4285127156" sldId="288"/>
            <ac:spMk id="21" creationId="{C7048E38-0321-F99B-4A9A-AB3B2F9ADAF6}"/>
          </ac:spMkLst>
        </pc:spChg>
        <pc:spChg chg="add del mod modVis">
          <ac:chgData name="Patrick Alexander Franke" userId="423e9112-617d-4b87-a2e3-99cbfd97dbec" providerId="ADAL" clId="{76594E52-3920-453B-A9AF-B690723259B3}" dt="2022-07-11T13:13:53.243" v="4685"/>
          <ac:spMkLst>
            <pc:docMk/>
            <pc:sldMk cId="4285127156" sldId="288"/>
            <ac:spMk id="22" creationId="{E536C456-326F-5300-3BA2-CC4A8424C4D9}"/>
          </ac:spMkLst>
        </pc:spChg>
        <pc:spChg chg="add del mod modVis">
          <ac:chgData name="Patrick Alexander Franke" userId="423e9112-617d-4b87-a2e3-99cbfd97dbec" providerId="ADAL" clId="{76594E52-3920-453B-A9AF-B690723259B3}" dt="2022-07-11T13:15:19.267" v="5562"/>
          <ac:spMkLst>
            <pc:docMk/>
            <pc:sldMk cId="4285127156" sldId="288"/>
            <ac:spMk id="23" creationId="{DDDF30FE-89FA-444F-23BA-3EC64E6B0811}"/>
          </ac:spMkLst>
        </pc:spChg>
        <pc:spChg chg="add del mod modVis">
          <ac:chgData name="Patrick Alexander Franke" userId="423e9112-617d-4b87-a2e3-99cbfd97dbec" providerId="ADAL" clId="{76594E52-3920-453B-A9AF-B690723259B3}" dt="2022-07-11T13:15:21.947" v="5609"/>
          <ac:spMkLst>
            <pc:docMk/>
            <pc:sldMk cId="4285127156" sldId="288"/>
            <ac:spMk id="24" creationId="{FBB76D2C-0321-365D-4C38-9E7BA6465ABC}"/>
          </ac:spMkLst>
        </pc:spChg>
        <pc:spChg chg="add del mod modVis">
          <ac:chgData name="Patrick Alexander Franke" userId="423e9112-617d-4b87-a2e3-99cbfd97dbec" providerId="ADAL" clId="{76594E52-3920-453B-A9AF-B690723259B3}" dt="2022-07-11T13:18:07.239" v="5743" actId="20577"/>
          <ac:spMkLst>
            <pc:docMk/>
            <pc:sldMk cId="4285127156" sldId="288"/>
            <ac:spMk id="25" creationId="{2FECDAF4-C4E7-C8A0-5E32-E7F1E92FA74A}"/>
          </ac:spMkLst>
        </pc:spChg>
        <pc:graphicFrameChg chg="add mod ord modVis replST">
          <ac:chgData name="Patrick Alexander Franke" userId="423e9112-617d-4b87-a2e3-99cbfd97dbec" providerId="ADAL" clId="{76594E52-3920-453B-A9AF-B690723259B3}" dt="2022-07-12T16:04:12.308" v="6429"/>
          <ac:graphicFrameMkLst>
            <pc:docMk/>
            <pc:sldMk cId="4285127156" sldId="288"/>
            <ac:graphicFrameMk id="7" creationId="{68F529B3-1C29-FC8D-6F09-6C05C488ADBF}"/>
          </ac:graphicFrameMkLst>
        </pc:graphicFrameChg>
        <pc:picChg chg="mod modCrop">
          <ac:chgData name="Patrick Alexander Franke" userId="423e9112-617d-4b87-a2e3-99cbfd97dbec" providerId="ADAL" clId="{76594E52-3920-453B-A9AF-B690723259B3}" dt="2022-07-11T11:57:36.214" v="629" actId="1035"/>
          <ac:picMkLst>
            <pc:docMk/>
            <pc:sldMk cId="4285127156" sldId="288"/>
            <ac:picMk id="5" creationId="{7C0E96CF-E869-503E-3AD9-2CAA20B2985D}"/>
          </ac:picMkLst>
        </pc:picChg>
        <pc:picChg chg="mod modCrop">
          <ac:chgData name="Patrick Alexander Franke" userId="423e9112-617d-4b87-a2e3-99cbfd97dbec" providerId="ADAL" clId="{76594E52-3920-453B-A9AF-B690723259B3}" dt="2022-07-11T11:57:36.214" v="629" actId="1035"/>
          <ac:picMkLst>
            <pc:docMk/>
            <pc:sldMk cId="4285127156" sldId="288"/>
            <ac:picMk id="9" creationId="{846967B7-83C9-7A75-BED7-77F5CE3AC841}"/>
          </ac:picMkLst>
        </pc:picChg>
        <pc:picChg chg="mod">
          <ac:chgData name="Patrick Alexander Franke" userId="423e9112-617d-4b87-a2e3-99cbfd97dbec" providerId="ADAL" clId="{76594E52-3920-453B-A9AF-B690723259B3}" dt="2022-07-11T11:57:36.214" v="629" actId="1035"/>
          <ac:picMkLst>
            <pc:docMk/>
            <pc:sldMk cId="4285127156" sldId="288"/>
            <ac:picMk id="12" creationId="{15CC479E-4A48-1A53-49FA-5773356DC7CB}"/>
          </ac:picMkLst>
        </pc:picChg>
      </pc:sldChg>
      <pc:sldChg chg="addSp delSp modSp del mod">
        <pc:chgData name="Patrick Alexander Franke" userId="423e9112-617d-4b87-a2e3-99cbfd97dbec" providerId="ADAL" clId="{76594E52-3920-453B-A9AF-B690723259B3}" dt="2022-07-13T22:34:18.522" v="6892" actId="2696"/>
        <pc:sldMkLst>
          <pc:docMk/>
          <pc:sldMk cId="3219366404" sldId="290"/>
        </pc:sldMkLst>
        <pc:spChg chg="add mod">
          <ac:chgData name="Patrick Alexander Franke" userId="423e9112-617d-4b87-a2e3-99cbfd97dbec" providerId="ADAL" clId="{76594E52-3920-453B-A9AF-B690723259B3}" dt="2022-07-13T10:19:54.496" v="6476" actId="20577"/>
          <ac:spMkLst>
            <pc:docMk/>
            <pc:sldMk cId="3219366404" sldId="290"/>
            <ac:spMk id="2" creationId="{B6BDF923-F49E-7D11-A52B-6D1C3BE62CD2}"/>
          </ac:spMkLst>
        </pc:spChg>
        <pc:spChg chg="del mod">
          <ac:chgData name="Patrick Alexander Franke" userId="423e9112-617d-4b87-a2e3-99cbfd97dbec" providerId="ADAL" clId="{76594E52-3920-453B-A9AF-B690723259B3}" dt="2022-07-11T12:01:36.650" v="642" actId="478"/>
          <ac:spMkLst>
            <pc:docMk/>
            <pc:sldMk cId="3219366404" sldId="290"/>
            <ac:spMk id="2" creationId="{C6785AE7-8B00-486C-9A8C-F571C93177E4}"/>
          </ac:spMkLst>
        </pc:spChg>
        <pc:spChg chg="add del mod">
          <ac:chgData name="Patrick Alexander Franke" userId="423e9112-617d-4b87-a2e3-99cbfd97dbec" providerId="ADAL" clId="{76594E52-3920-453B-A9AF-B690723259B3}" dt="2022-07-11T12:08:54.822" v="1954" actId="478"/>
          <ac:spMkLst>
            <pc:docMk/>
            <pc:sldMk cId="3219366404" sldId="290"/>
            <ac:spMk id="5" creationId="{B7C4774D-75F3-CC77-D872-076964BD43F7}"/>
          </ac:spMkLst>
        </pc:spChg>
        <pc:spChg chg="add del mod">
          <ac:chgData name="Patrick Alexander Franke" userId="423e9112-617d-4b87-a2e3-99cbfd97dbec" providerId="ADAL" clId="{76594E52-3920-453B-A9AF-B690723259B3}" dt="2022-07-11T11:45:55.480" v="240" actId="478"/>
          <ac:spMkLst>
            <pc:docMk/>
            <pc:sldMk cId="3219366404" sldId="290"/>
            <ac:spMk id="7" creationId="{8501B081-BEDA-D491-6D6B-C37752FBAB3D}"/>
          </ac:spMkLst>
        </pc:spChg>
        <pc:spChg chg="add mod">
          <ac:chgData name="Patrick Alexander Franke" userId="423e9112-617d-4b87-a2e3-99cbfd97dbec" providerId="ADAL" clId="{76594E52-3920-453B-A9AF-B690723259B3}" dt="2022-07-13T22:25:19.723" v="6838" actId="12"/>
          <ac:spMkLst>
            <pc:docMk/>
            <pc:sldMk cId="3219366404" sldId="290"/>
            <ac:spMk id="8" creationId="{57FC0C3A-359F-0C48-E36E-29273E1D996D}"/>
          </ac:spMkLst>
        </pc:spChg>
        <pc:spChg chg="add del mod modVis">
          <ac:chgData name="Patrick Alexander Franke" userId="423e9112-617d-4b87-a2e3-99cbfd97dbec" providerId="ADAL" clId="{76594E52-3920-453B-A9AF-B690723259B3}" dt="2022-07-11T12:01:50.391" v="836"/>
          <ac:spMkLst>
            <pc:docMk/>
            <pc:sldMk cId="3219366404" sldId="290"/>
            <ac:spMk id="10" creationId="{1E0A7ABE-9E1E-8A6C-A188-215656E985B2}"/>
          </ac:spMkLst>
        </pc:spChg>
        <pc:spChg chg="mod">
          <ac:chgData name="Patrick Alexander Franke" userId="423e9112-617d-4b87-a2e3-99cbfd97dbec" providerId="ADAL" clId="{76594E52-3920-453B-A9AF-B690723259B3}" dt="2022-07-11T12:01:23.491" v="640" actId="20577"/>
          <ac:spMkLst>
            <pc:docMk/>
            <pc:sldMk cId="3219366404" sldId="290"/>
            <ac:spMk id="11" creationId="{BA1B6992-312C-F7E4-EF1C-17B48236AABA}"/>
          </ac:spMkLst>
        </pc:spChg>
        <pc:spChg chg="add del mod">
          <ac:chgData name="Patrick Alexander Franke" userId="423e9112-617d-4b87-a2e3-99cbfd97dbec" providerId="ADAL" clId="{76594E52-3920-453B-A9AF-B690723259B3}" dt="2022-07-11T12:01:45.448" v="778" actId="478"/>
          <ac:spMkLst>
            <pc:docMk/>
            <pc:sldMk cId="3219366404" sldId="290"/>
            <ac:spMk id="12" creationId="{FCF18432-FB57-38C0-969F-46974EC3DB6F}"/>
          </ac:spMkLst>
        </pc:spChg>
        <pc:spChg chg="add del mod modVis">
          <ac:chgData name="Patrick Alexander Franke" userId="423e9112-617d-4b87-a2e3-99cbfd97dbec" providerId="ADAL" clId="{76594E52-3920-453B-A9AF-B690723259B3}" dt="2022-07-11T12:01:57.139" v="881"/>
          <ac:spMkLst>
            <pc:docMk/>
            <pc:sldMk cId="3219366404" sldId="290"/>
            <ac:spMk id="13" creationId="{FB2E7D43-A828-9946-D2C0-BF1C9C12D0AC}"/>
          </ac:spMkLst>
        </pc:spChg>
        <pc:spChg chg="add del mod modVis">
          <ac:chgData name="Patrick Alexander Franke" userId="423e9112-617d-4b87-a2e3-99cbfd97dbec" providerId="ADAL" clId="{76594E52-3920-453B-A9AF-B690723259B3}" dt="2022-07-11T12:01:57.931" v="927"/>
          <ac:spMkLst>
            <pc:docMk/>
            <pc:sldMk cId="3219366404" sldId="290"/>
            <ac:spMk id="14" creationId="{6199D97B-F32C-343A-245C-7E29A8ADC9AF}"/>
          </ac:spMkLst>
        </pc:spChg>
        <pc:spChg chg="add del mod modVis">
          <ac:chgData name="Patrick Alexander Franke" userId="423e9112-617d-4b87-a2e3-99cbfd97dbec" providerId="ADAL" clId="{76594E52-3920-453B-A9AF-B690723259B3}" dt="2022-07-11T12:02:03.334" v="992"/>
          <ac:spMkLst>
            <pc:docMk/>
            <pc:sldMk cId="3219366404" sldId="290"/>
            <ac:spMk id="15" creationId="{36982440-FECB-AE8F-8EAC-E3B55434AC57}"/>
          </ac:spMkLst>
        </pc:spChg>
        <pc:spChg chg="add del mod modVis">
          <ac:chgData name="Patrick Alexander Franke" userId="423e9112-617d-4b87-a2e3-99cbfd97dbec" providerId="ADAL" clId="{76594E52-3920-453B-A9AF-B690723259B3}" dt="2022-07-11T12:02:04.932" v="1040"/>
          <ac:spMkLst>
            <pc:docMk/>
            <pc:sldMk cId="3219366404" sldId="290"/>
            <ac:spMk id="16" creationId="{4072D4F0-A76C-5990-F8A0-B5465BA019F1}"/>
          </ac:spMkLst>
        </pc:spChg>
        <pc:spChg chg="add del mod modVis">
          <ac:chgData name="Patrick Alexander Franke" userId="423e9112-617d-4b87-a2e3-99cbfd97dbec" providerId="ADAL" clId="{76594E52-3920-453B-A9AF-B690723259B3}" dt="2022-07-11T12:02:07.846" v="1100"/>
          <ac:spMkLst>
            <pc:docMk/>
            <pc:sldMk cId="3219366404" sldId="290"/>
            <ac:spMk id="17" creationId="{3DB5F391-3D6B-576E-6924-6D94693D3254}"/>
          </ac:spMkLst>
        </pc:spChg>
        <pc:spChg chg="add del mod modVis">
          <ac:chgData name="Patrick Alexander Franke" userId="423e9112-617d-4b87-a2e3-99cbfd97dbec" providerId="ADAL" clId="{76594E52-3920-453B-A9AF-B690723259B3}" dt="2022-07-11T12:02:52.846" v="1151"/>
          <ac:spMkLst>
            <pc:docMk/>
            <pc:sldMk cId="3219366404" sldId="290"/>
            <ac:spMk id="18" creationId="{5524C06F-54FA-28FB-DBCC-7904ED539D76}"/>
          </ac:spMkLst>
        </pc:spChg>
        <pc:spChg chg="add del mod modVis">
          <ac:chgData name="Patrick Alexander Franke" userId="423e9112-617d-4b87-a2e3-99cbfd97dbec" providerId="ADAL" clId="{76594E52-3920-453B-A9AF-B690723259B3}" dt="2022-07-11T12:08:48.393" v="1905"/>
          <ac:spMkLst>
            <pc:docMk/>
            <pc:sldMk cId="3219366404" sldId="290"/>
            <ac:spMk id="19" creationId="{49A2FA1A-0340-7388-90C6-71B16D69B927}"/>
          </ac:spMkLst>
        </pc:spChg>
        <pc:spChg chg="add del mod modVis">
          <ac:chgData name="Patrick Alexander Franke" userId="423e9112-617d-4b87-a2e3-99cbfd97dbec" providerId="ADAL" clId="{76594E52-3920-453B-A9AF-B690723259B3}" dt="2022-07-11T12:08:50.156" v="1950"/>
          <ac:spMkLst>
            <pc:docMk/>
            <pc:sldMk cId="3219366404" sldId="290"/>
            <ac:spMk id="20" creationId="{7B5E6B7B-5F15-AFAB-A706-FB932E2BDD78}"/>
          </ac:spMkLst>
        </pc:spChg>
        <pc:spChg chg="add mod">
          <ac:chgData name="Patrick Alexander Franke" userId="423e9112-617d-4b87-a2e3-99cbfd97dbec" providerId="ADAL" clId="{76594E52-3920-453B-A9AF-B690723259B3}" dt="2022-07-11T13:14:11.903" v="4890" actId="948"/>
          <ac:spMkLst>
            <pc:docMk/>
            <pc:sldMk cId="3219366404" sldId="290"/>
            <ac:spMk id="22" creationId="{00FCDB3A-BFF5-AF14-ADA7-E66FD58DAE29}"/>
          </ac:spMkLst>
        </pc:spChg>
        <pc:spChg chg="add del mod modVis">
          <ac:chgData name="Patrick Alexander Franke" userId="423e9112-617d-4b87-a2e3-99cbfd97dbec" providerId="ADAL" clId="{76594E52-3920-453B-A9AF-B690723259B3}" dt="2022-07-11T12:08:59.243" v="2042" actId="962"/>
          <ac:spMkLst>
            <pc:docMk/>
            <pc:sldMk cId="3219366404" sldId="290"/>
            <ac:spMk id="23" creationId="{781044E7-FF60-6202-A5DE-4D2CC227FA72}"/>
          </ac:spMkLst>
        </pc:spChg>
        <pc:spChg chg="add del mod modVis">
          <ac:chgData name="Patrick Alexander Franke" userId="423e9112-617d-4b87-a2e3-99cbfd97dbec" providerId="ADAL" clId="{76594E52-3920-453B-A9AF-B690723259B3}" dt="2022-07-11T12:09:03.048" v="2130" actId="962"/>
          <ac:spMkLst>
            <pc:docMk/>
            <pc:sldMk cId="3219366404" sldId="290"/>
            <ac:spMk id="24" creationId="{5521566D-3F4D-4765-6E01-2F6DCBE28538}"/>
          </ac:spMkLst>
        </pc:spChg>
        <pc:spChg chg="add del mod">
          <ac:chgData name="Patrick Alexander Franke" userId="423e9112-617d-4b87-a2e3-99cbfd97dbec" providerId="ADAL" clId="{76594E52-3920-453B-A9AF-B690723259B3}" dt="2022-07-11T12:09:13.892" v="2136" actId="478"/>
          <ac:spMkLst>
            <pc:docMk/>
            <pc:sldMk cId="3219366404" sldId="290"/>
            <ac:spMk id="25" creationId="{B255DF64-574B-BD5C-F5BC-0B50BDB0D1DF}"/>
          </ac:spMkLst>
        </pc:spChg>
        <pc:spChg chg="add del mod modVis">
          <ac:chgData name="Patrick Alexander Franke" userId="423e9112-617d-4b87-a2e3-99cbfd97dbec" providerId="ADAL" clId="{76594E52-3920-453B-A9AF-B690723259B3}" dt="2022-07-11T12:09:17.347" v="2179"/>
          <ac:spMkLst>
            <pc:docMk/>
            <pc:sldMk cId="3219366404" sldId="290"/>
            <ac:spMk id="26" creationId="{8DB9E5DA-7505-1FC1-1882-6A161A91879B}"/>
          </ac:spMkLst>
        </pc:spChg>
        <pc:spChg chg="add del mod">
          <ac:chgData name="Patrick Alexander Franke" userId="423e9112-617d-4b87-a2e3-99cbfd97dbec" providerId="ADAL" clId="{76594E52-3920-453B-A9AF-B690723259B3}" dt="2022-07-11T12:09:34.237" v="2185" actId="478"/>
          <ac:spMkLst>
            <pc:docMk/>
            <pc:sldMk cId="3219366404" sldId="290"/>
            <ac:spMk id="27" creationId="{5078E335-26D0-8EDD-5303-C4A423A65169}"/>
          </ac:spMkLst>
        </pc:spChg>
        <pc:spChg chg="add del mod modVis">
          <ac:chgData name="Patrick Alexander Franke" userId="423e9112-617d-4b87-a2e3-99cbfd97dbec" providerId="ADAL" clId="{76594E52-3920-453B-A9AF-B690723259B3}" dt="2022-07-11T12:09:39.473" v="2234"/>
          <ac:spMkLst>
            <pc:docMk/>
            <pc:sldMk cId="3219366404" sldId="290"/>
            <ac:spMk id="28" creationId="{0E9B82A2-3DA8-19C0-F87D-0D842ACD1C3B}"/>
          </ac:spMkLst>
        </pc:spChg>
        <pc:spChg chg="add del mod modVis">
          <ac:chgData name="Patrick Alexander Franke" userId="423e9112-617d-4b87-a2e3-99cbfd97dbec" providerId="ADAL" clId="{76594E52-3920-453B-A9AF-B690723259B3}" dt="2022-07-11T13:14:09.358" v="4879"/>
          <ac:spMkLst>
            <pc:docMk/>
            <pc:sldMk cId="3219366404" sldId="290"/>
            <ac:spMk id="29" creationId="{4B9143C6-20BA-AFCB-9124-CB00428C95A2}"/>
          </ac:spMkLst>
        </pc:spChg>
        <pc:spChg chg="add del mod modVis">
          <ac:chgData name="Patrick Alexander Franke" userId="423e9112-617d-4b87-a2e3-99cbfd97dbec" providerId="ADAL" clId="{76594E52-3920-453B-A9AF-B690723259B3}" dt="2022-07-11T13:14:11.974" v="4931"/>
          <ac:spMkLst>
            <pc:docMk/>
            <pc:sldMk cId="3219366404" sldId="290"/>
            <ac:spMk id="30" creationId="{BD8D8E6D-D07E-0751-4F6E-57AA5CFCB636}"/>
          </ac:spMkLst>
        </pc:spChg>
        <pc:graphicFrameChg chg="add mod ord modVis replST">
          <ac:chgData name="Patrick Alexander Franke" userId="423e9112-617d-4b87-a2e3-99cbfd97dbec" providerId="ADAL" clId="{76594E52-3920-453B-A9AF-B690723259B3}" dt="2022-07-12T12:37:29.515" v="6425"/>
          <ac:graphicFrameMkLst>
            <pc:docMk/>
            <pc:sldMk cId="3219366404" sldId="290"/>
            <ac:graphicFrameMk id="9" creationId="{EE939291-3D1F-6E91-06B8-BA1CCC087E22}"/>
          </ac:graphicFrameMkLst>
        </pc:graphicFrameChg>
      </pc:sldChg>
      <pc:sldChg chg="addSp delSp modSp mod ord modTransition delAnim modAnim modShow">
        <pc:chgData name="Patrick Alexander Franke" userId="423e9112-617d-4b87-a2e3-99cbfd97dbec" providerId="ADAL" clId="{76594E52-3920-453B-A9AF-B690723259B3}" dt="2022-07-13T23:09:04.651" v="6978"/>
        <pc:sldMkLst>
          <pc:docMk/>
          <pc:sldMk cId="3801310453" sldId="291"/>
        </pc:sldMkLst>
        <pc:spChg chg="add del mod">
          <ac:chgData name="Patrick Alexander Franke" userId="423e9112-617d-4b87-a2e3-99cbfd97dbec" providerId="ADAL" clId="{76594E52-3920-453B-A9AF-B690723259B3}" dt="2022-07-11T13:14:19.981" v="5080"/>
          <ac:spMkLst>
            <pc:docMk/>
            <pc:sldMk cId="3801310453" sldId="291"/>
            <ac:spMk id="2" creationId="{C6785AE7-8B00-486C-9A8C-F571C93177E4}"/>
          </ac:spMkLst>
        </pc:spChg>
        <pc:spChg chg="add del mod modVis">
          <ac:chgData name="Patrick Alexander Franke" userId="423e9112-617d-4b87-a2e3-99cbfd97dbec" providerId="ADAL" clId="{76594E52-3920-453B-A9AF-B690723259B3}" dt="2022-07-11T12:09:46.814" v="2279"/>
          <ac:spMkLst>
            <pc:docMk/>
            <pc:sldMk cId="3801310453" sldId="291"/>
            <ac:spMk id="3" creationId="{4071D5C6-517B-72D6-F48D-DF026C924631}"/>
          </ac:spMkLst>
        </pc:spChg>
        <pc:spChg chg="add del mod">
          <ac:chgData name="Patrick Alexander Franke" userId="423e9112-617d-4b87-a2e3-99cbfd97dbec" providerId="ADAL" clId="{76594E52-3920-453B-A9AF-B690723259B3}" dt="2022-07-11T12:10:05.695" v="2505" actId="478"/>
          <ac:spMkLst>
            <pc:docMk/>
            <pc:sldMk cId="3801310453" sldId="291"/>
            <ac:spMk id="8" creationId="{7125FFF9-3466-CB14-E958-671197F10323}"/>
          </ac:spMkLst>
        </pc:spChg>
        <pc:spChg chg="add del mod modVis">
          <ac:chgData name="Patrick Alexander Franke" userId="423e9112-617d-4b87-a2e3-99cbfd97dbec" providerId="ADAL" clId="{76594E52-3920-453B-A9AF-B690723259B3}" dt="2022-07-11T12:10:05.087" v="2496" actId="962"/>
          <ac:spMkLst>
            <pc:docMk/>
            <pc:sldMk cId="3801310453" sldId="291"/>
            <ac:spMk id="9" creationId="{2A555907-6B44-F111-2984-EE3264AEF43D}"/>
          </ac:spMkLst>
        </pc:spChg>
        <pc:spChg chg="add del mod modVis">
          <ac:chgData name="Patrick Alexander Franke" userId="423e9112-617d-4b87-a2e3-99cbfd97dbec" providerId="ADAL" clId="{76594E52-3920-453B-A9AF-B690723259B3}" dt="2022-07-11T12:10:04.881" v="2452" actId="962"/>
          <ac:spMkLst>
            <pc:docMk/>
            <pc:sldMk cId="3801310453" sldId="291"/>
            <ac:spMk id="10" creationId="{6A6A4C48-9642-A18A-ADF5-8BB2556C570F}"/>
          </ac:spMkLst>
        </pc:spChg>
        <pc:spChg chg="del mod">
          <ac:chgData name="Patrick Alexander Franke" userId="423e9112-617d-4b87-a2e3-99cbfd97dbec" providerId="ADAL" clId="{76594E52-3920-453B-A9AF-B690723259B3}" dt="2022-07-11T12:10:21.283" v="2664" actId="478"/>
          <ac:spMkLst>
            <pc:docMk/>
            <pc:sldMk cId="3801310453" sldId="291"/>
            <ac:spMk id="11" creationId="{BA1B6992-312C-F7E4-EF1C-17B48236AABA}"/>
          </ac:spMkLst>
        </pc:spChg>
        <pc:spChg chg="add del mod modVis">
          <ac:chgData name="Patrick Alexander Franke" userId="423e9112-617d-4b87-a2e3-99cbfd97dbec" providerId="ADAL" clId="{76594E52-3920-453B-A9AF-B690723259B3}" dt="2022-07-11T12:10:11.836" v="2550"/>
          <ac:spMkLst>
            <pc:docMk/>
            <pc:sldMk cId="3801310453" sldId="291"/>
            <ac:spMk id="12" creationId="{0D0D2C44-97FB-1382-CADC-648CF711AFB7}"/>
          </ac:spMkLst>
        </pc:spChg>
        <pc:spChg chg="add del mod modVis">
          <ac:chgData name="Patrick Alexander Franke" userId="423e9112-617d-4b87-a2e3-99cbfd97dbec" providerId="ADAL" clId="{76594E52-3920-453B-A9AF-B690723259B3}" dt="2022-07-11T12:10:12.564" v="2596"/>
          <ac:spMkLst>
            <pc:docMk/>
            <pc:sldMk cId="3801310453" sldId="291"/>
            <ac:spMk id="13" creationId="{B9A16D2C-023F-EAFB-4DCE-ED9E1CC2C2C4}"/>
          </ac:spMkLst>
        </pc:spChg>
        <pc:spChg chg="add del mod modVis">
          <ac:chgData name="Patrick Alexander Franke" userId="423e9112-617d-4b87-a2e3-99cbfd97dbec" providerId="ADAL" clId="{76594E52-3920-453B-A9AF-B690723259B3}" dt="2022-07-11T12:10:16.263" v="2660"/>
          <ac:spMkLst>
            <pc:docMk/>
            <pc:sldMk cId="3801310453" sldId="291"/>
            <ac:spMk id="14" creationId="{3064FEA1-11CE-7B51-A2B3-15478BF1E01D}"/>
          </ac:spMkLst>
        </pc:spChg>
        <pc:spChg chg="del">
          <ac:chgData name="Patrick Alexander Franke" userId="423e9112-617d-4b87-a2e3-99cbfd97dbec" providerId="ADAL" clId="{76594E52-3920-453B-A9AF-B690723259B3}" dt="2022-07-13T22:20:19.223" v="6702" actId="21"/>
          <ac:spMkLst>
            <pc:docMk/>
            <pc:sldMk cId="3801310453" sldId="291"/>
            <ac:spMk id="14" creationId="{7402CE13-2C43-EEDA-F037-A2D8061A045A}"/>
          </ac:spMkLst>
        </pc:spChg>
        <pc:spChg chg="add del mod">
          <ac:chgData name="Patrick Alexander Franke" userId="423e9112-617d-4b87-a2e3-99cbfd97dbec" providerId="ADAL" clId="{76594E52-3920-453B-A9AF-B690723259B3}" dt="2022-07-11T13:06:56.413" v="3953" actId="20577"/>
          <ac:spMkLst>
            <pc:docMk/>
            <pc:sldMk cId="3801310453" sldId="291"/>
            <ac:spMk id="15" creationId="{253FA75F-C051-A02C-DD23-8EAA75E02D90}"/>
          </ac:spMkLst>
        </pc:spChg>
        <pc:spChg chg="add del mod">
          <ac:chgData name="Patrick Alexander Franke" userId="423e9112-617d-4b87-a2e3-99cbfd97dbec" providerId="ADAL" clId="{76594E52-3920-453B-A9AF-B690723259B3}" dt="2022-07-11T12:15:56.732" v="2743" actId="478"/>
          <ac:spMkLst>
            <pc:docMk/>
            <pc:sldMk cId="3801310453" sldId="291"/>
            <ac:spMk id="16" creationId="{008A6861-DC17-8C9A-3CE5-0CE72A33EEB2}"/>
          </ac:spMkLst>
        </pc:spChg>
        <pc:spChg chg="add del mod">
          <ac:chgData name="Patrick Alexander Franke" userId="423e9112-617d-4b87-a2e3-99cbfd97dbec" providerId="ADAL" clId="{76594E52-3920-453B-A9AF-B690723259B3}" dt="2022-07-13T22:20:19.223" v="6702" actId="21"/>
          <ac:spMkLst>
            <pc:docMk/>
            <pc:sldMk cId="3801310453" sldId="291"/>
            <ac:spMk id="23" creationId="{D6C73DB3-4EA7-199E-7C85-9CD874AF1263}"/>
          </ac:spMkLst>
        </pc:spChg>
        <pc:spChg chg="add del mod">
          <ac:chgData name="Patrick Alexander Franke" userId="423e9112-617d-4b87-a2e3-99cbfd97dbec" providerId="ADAL" clId="{76594E52-3920-453B-A9AF-B690723259B3}" dt="2022-07-11T12:33:41.798" v="2912" actId="478"/>
          <ac:spMkLst>
            <pc:docMk/>
            <pc:sldMk cId="3801310453" sldId="291"/>
            <ac:spMk id="24" creationId="{F98BAC17-B077-4D9F-0930-EF55C98BD81A}"/>
          </ac:spMkLst>
        </pc:spChg>
        <pc:spChg chg="add del mod">
          <ac:chgData name="Patrick Alexander Franke" userId="423e9112-617d-4b87-a2e3-99cbfd97dbec" providerId="ADAL" clId="{76594E52-3920-453B-A9AF-B690723259B3}" dt="2022-07-13T22:20:19.223" v="6702" actId="21"/>
          <ac:spMkLst>
            <pc:docMk/>
            <pc:sldMk cId="3801310453" sldId="291"/>
            <ac:spMk id="27" creationId="{60FB3311-F391-EAC8-FEF1-AD6DDDB92B45}"/>
          </ac:spMkLst>
        </pc:spChg>
        <pc:spChg chg="add del mod">
          <ac:chgData name="Patrick Alexander Franke" userId="423e9112-617d-4b87-a2e3-99cbfd97dbec" providerId="ADAL" clId="{76594E52-3920-453B-A9AF-B690723259B3}" dt="2022-07-13T22:20:19.223" v="6702" actId="21"/>
          <ac:spMkLst>
            <pc:docMk/>
            <pc:sldMk cId="3801310453" sldId="291"/>
            <ac:spMk id="28" creationId="{20ED1EB3-0BDE-4EA9-2F97-EB4E89A28440}"/>
          </ac:spMkLst>
        </pc:spChg>
        <pc:spChg chg="add mod">
          <ac:chgData name="Patrick Alexander Franke" userId="423e9112-617d-4b87-a2e3-99cbfd97dbec" providerId="ADAL" clId="{76594E52-3920-453B-A9AF-B690723259B3}" dt="2022-07-11T13:01:22.055" v="3752" actId="1035"/>
          <ac:spMkLst>
            <pc:docMk/>
            <pc:sldMk cId="3801310453" sldId="291"/>
            <ac:spMk id="29" creationId="{1C04DFD9-5A5B-403E-46DF-FE208E10615F}"/>
          </ac:spMkLst>
        </pc:spChg>
        <pc:spChg chg="add del mod">
          <ac:chgData name="Patrick Alexander Franke" userId="423e9112-617d-4b87-a2e3-99cbfd97dbec" providerId="ADAL" clId="{76594E52-3920-453B-A9AF-B690723259B3}" dt="2022-07-13T22:20:19.223" v="6702" actId="21"/>
          <ac:spMkLst>
            <pc:docMk/>
            <pc:sldMk cId="3801310453" sldId="291"/>
            <ac:spMk id="30" creationId="{DB10F60E-1C6A-B6B5-7D1F-590201FF60B2}"/>
          </ac:spMkLst>
        </pc:spChg>
        <pc:spChg chg="add del mod modVis">
          <ac:chgData name="Patrick Alexander Franke" userId="423e9112-617d-4b87-a2e3-99cbfd97dbec" providerId="ADAL" clId="{76594E52-3920-453B-A9AF-B690723259B3}" dt="2022-07-11T13:13:29.802" v="4250"/>
          <ac:spMkLst>
            <pc:docMk/>
            <pc:sldMk cId="3801310453" sldId="291"/>
            <ac:spMk id="31" creationId="{8D10F378-D717-D35D-632D-510C8C56F544}"/>
          </ac:spMkLst>
        </pc:spChg>
        <pc:spChg chg="add del mod modVis">
          <ac:chgData name="Patrick Alexander Franke" userId="423e9112-617d-4b87-a2e3-99cbfd97dbec" providerId="ADAL" clId="{76594E52-3920-453B-A9AF-B690723259B3}" dt="2022-07-11T13:13:32.109" v="4296"/>
          <ac:spMkLst>
            <pc:docMk/>
            <pc:sldMk cId="3801310453" sldId="291"/>
            <ac:spMk id="32" creationId="{CE46656B-FFEA-A725-1825-089037B6664B}"/>
          </ac:spMkLst>
        </pc:spChg>
        <pc:spChg chg="add del mod modVis">
          <ac:chgData name="Patrick Alexander Franke" userId="423e9112-617d-4b87-a2e3-99cbfd97dbec" providerId="ADAL" clId="{76594E52-3920-453B-A9AF-B690723259B3}" dt="2022-07-11T13:13:32.873" v="4341"/>
          <ac:spMkLst>
            <pc:docMk/>
            <pc:sldMk cId="3801310453" sldId="291"/>
            <ac:spMk id="33" creationId="{D168E69B-7B0C-F96D-2260-B146C0618D29}"/>
          </ac:spMkLst>
        </pc:spChg>
        <pc:spChg chg="add del mod modVis">
          <ac:chgData name="Patrick Alexander Franke" userId="423e9112-617d-4b87-a2e3-99cbfd97dbec" providerId="ADAL" clId="{76594E52-3920-453B-A9AF-B690723259B3}" dt="2022-07-11T13:13:33.921" v="4387"/>
          <ac:spMkLst>
            <pc:docMk/>
            <pc:sldMk cId="3801310453" sldId="291"/>
            <ac:spMk id="34" creationId="{3BD6F433-3E74-B6C5-5661-1E17A4A2624F}"/>
          </ac:spMkLst>
        </pc:spChg>
        <pc:spChg chg="add del mod modVis">
          <ac:chgData name="Patrick Alexander Franke" userId="423e9112-617d-4b87-a2e3-99cbfd97dbec" providerId="ADAL" clId="{76594E52-3920-453B-A9AF-B690723259B3}" dt="2022-07-11T13:13:42.063" v="4437"/>
          <ac:spMkLst>
            <pc:docMk/>
            <pc:sldMk cId="3801310453" sldId="291"/>
            <ac:spMk id="35" creationId="{D5AC3005-8974-2952-5928-877C640BA966}"/>
          </ac:spMkLst>
        </pc:spChg>
        <pc:spChg chg="add del mod modVis">
          <ac:chgData name="Patrick Alexander Franke" userId="423e9112-617d-4b87-a2e3-99cbfd97dbec" providerId="ADAL" clId="{76594E52-3920-453B-A9AF-B690723259B3}" dt="2022-07-11T13:14:15.380" v="4976"/>
          <ac:spMkLst>
            <pc:docMk/>
            <pc:sldMk cId="3801310453" sldId="291"/>
            <ac:spMk id="36" creationId="{2FD6A9D5-8752-5BA2-3DB1-F615E310CB63}"/>
          </ac:spMkLst>
        </pc:spChg>
        <pc:spChg chg="add del mod modVis">
          <ac:chgData name="Patrick Alexander Franke" userId="423e9112-617d-4b87-a2e3-99cbfd97dbec" providerId="ADAL" clId="{76594E52-3920-453B-A9AF-B690723259B3}" dt="2022-07-11T13:14:16.408" v="5023"/>
          <ac:spMkLst>
            <pc:docMk/>
            <pc:sldMk cId="3801310453" sldId="291"/>
            <ac:spMk id="37" creationId="{6F38043B-1A79-EB5C-070A-3B7DBDD697D0}"/>
          </ac:spMkLst>
        </pc:spChg>
        <pc:spChg chg="add del mod modVis">
          <ac:chgData name="Patrick Alexander Franke" userId="423e9112-617d-4b87-a2e3-99cbfd97dbec" providerId="ADAL" clId="{76594E52-3920-453B-A9AF-B690723259B3}" dt="2022-07-11T13:14:17.555" v="5069"/>
          <ac:spMkLst>
            <pc:docMk/>
            <pc:sldMk cId="3801310453" sldId="291"/>
            <ac:spMk id="38" creationId="{0010FE89-BA09-8CB8-98B0-113467B49A9D}"/>
          </ac:spMkLst>
        </pc:spChg>
        <pc:spChg chg="add del mod modVis">
          <ac:chgData name="Patrick Alexander Franke" userId="423e9112-617d-4b87-a2e3-99cbfd97dbec" providerId="ADAL" clId="{76594E52-3920-453B-A9AF-B690723259B3}" dt="2022-07-11T13:14:20.074" v="5121"/>
          <ac:spMkLst>
            <pc:docMk/>
            <pc:sldMk cId="3801310453" sldId="291"/>
            <ac:spMk id="39" creationId="{F47CBC1E-BC13-7814-6F00-8602EFC8395A}"/>
          </ac:spMkLst>
        </pc:spChg>
        <pc:graphicFrameChg chg="add mod ord modVis replST">
          <ac:chgData name="Patrick Alexander Franke" userId="423e9112-617d-4b87-a2e3-99cbfd97dbec" providerId="ADAL" clId="{76594E52-3920-453B-A9AF-B690723259B3}" dt="2022-07-12T16:04:28.294" v="6433"/>
          <ac:graphicFrameMkLst>
            <pc:docMk/>
            <pc:sldMk cId="3801310453" sldId="291"/>
            <ac:graphicFrameMk id="5" creationId="{E9AD94C8-695B-14F9-3E9D-06B0907C5A8B}"/>
          </ac:graphicFrameMkLst>
        </pc:graphicFrameChg>
        <pc:picChg chg="add del mod">
          <ac:chgData name="Patrick Alexander Franke" userId="423e9112-617d-4b87-a2e3-99cbfd97dbec" providerId="ADAL" clId="{76594E52-3920-453B-A9AF-B690723259B3}" dt="2022-07-11T12:16:00.816" v="2745" actId="478"/>
          <ac:picMkLst>
            <pc:docMk/>
            <pc:sldMk cId="3801310453" sldId="291"/>
            <ac:picMk id="18" creationId="{17B3DAF8-FBF8-3CF7-63DE-F49A6F3FAB62}"/>
          </ac:picMkLst>
        </pc:picChg>
        <pc:picChg chg="add mod">
          <ac:chgData name="Patrick Alexander Franke" userId="423e9112-617d-4b87-a2e3-99cbfd97dbec" providerId="ADAL" clId="{76594E52-3920-453B-A9AF-B690723259B3}" dt="2022-07-11T12:19:50.209" v="2781" actId="1076"/>
          <ac:picMkLst>
            <pc:docMk/>
            <pc:sldMk cId="3801310453" sldId="291"/>
            <ac:picMk id="20" creationId="{65A674C6-8680-649A-3AD3-DC03592A4C16}"/>
          </ac:picMkLst>
        </pc:picChg>
        <pc:picChg chg="add del mod">
          <ac:chgData name="Patrick Alexander Franke" userId="423e9112-617d-4b87-a2e3-99cbfd97dbec" providerId="ADAL" clId="{76594E52-3920-453B-A9AF-B690723259B3}" dt="2022-07-11T12:58:58.154" v="3498" actId="478"/>
          <ac:picMkLst>
            <pc:docMk/>
            <pc:sldMk cId="3801310453" sldId="291"/>
            <ac:picMk id="22" creationId="{6C65AF54-D33A-95E0-533A-E2BA0E40C3E1}"/>
          </ac:picMkLst>
        </pc:picChg>
        <pc:picChg chg="add mod">
          <ac:chgData name="Patrick Alexander Franke" userId="423e9112-617d-4b87-a2e3-99cbfd97dbec" providerId="ADAL" clId="{76594E52-3920-453B-A9AF-B690723259B3}" dt="2022-07-11T12:43:07.598" v="3295"/>
          <ac:picMkLst>
            <pc:docMk/>
            <pc:sldMk cId="3801310453" sldId="291"/>
            <ac:picMk id="25" creationId="{4A9B65DF-E6FB-D4B8-2D6A-5447A0F607D0}"/>
          </ac:picMkLst>
        </pc:picChg>
        <pc:picChg chg="add mod">
          <ac:chgData name="Patrick Alexander Franke" userId="423e9112-617d-4b87-a2e3-99cbfd97dbec" providerId="ADAL" clId="{76594E52-3920-453B-A9AF-B690723259B3}" dt="2022-07-11T12:59:47.007" v="3535" actId="1076"/>
          <ac:picMkLst>
            <pc:docMk/>
            <pc:sldMk cId="3801310453" sldId="291"/>
            <ac:picMk id="26" creationId="{38C215CC-8724-C04E-21A5-4AAEBBA257B2}"/>
          </ac:picMkLst>
        </pc:picChg>
      </pc:sldChg>
      <pc:sldChg chg="addSp delSp modSp mod delAnim modAnim">
        <pc:chgData name="Patrick Alexander Franke" userId="423e9112-617d-4b87-a2e3-99cbfd97dbec" providerId="ADAL" clId="{76594E52-3920-453B-A9AF-B690723259B3}" dt="2022-07-13T22:57:34.604" v="6972" actId="1036"/>
        <pc:sldMkLst>
          <pc:docMk/>
          <pc:sldMk cId="151799418" sldId="292"/>
        </pc:sldMkLst>
        <pc:spChg chg="mod">
          <ac:chgData name="Patrick Alexander Franke" userId="423e9112-617d-4b87-a2e3-99cbfd97dbec" providerId="ADAL" clId="{76594E52-3920-453B-A9AF-B690723259B3}" dt="2022-07-11T13:14:40.557" v="5471"/>
          <ac:spMkLst>
            <pc:docMk/>
            <pc:sldMk cId="151799418" sldId="292"/>
            <ac:spMk id="2" creationId="{C6785AE7-8B00-486C-9A8C-F571C93177E4}"/>
          </ac:spMkLst>
        </pc:spChg>
        <pc:spChg chg="add del mod modVis">
          <ac:chgData name="Patrick Alexander Franke" userId="423e9112-617d-4b87-a2e3-99cbfd97dbec" providerId="ADAL" clId="{76594E52-3920-453B-A9AF-B690723259B3}" dt="2022-07-11T12:37:44.408" v="3032" actId="962"/>
          <ac:spMkLst>
            <pc:docMk/>
            <pc:sldMk cId="151799418" sldId="292"/>
            <ac:spMk id="3" creationId="{6FD8E159-444D-D442-B8B9-2BB0506885D4}"/>
          </ac:spMkLst>
        </pc:spChg>
        <pc:spChg chg="add del mod modVis">
          <ac:chgData name="Patrick Alexander Franke" userId="423e9112-617d-4b87-a2e3-99cbfd97dbec" providerId="ADAL" clId="{76594E52-3920-453B-A9AF-B690723259B3}" dt="2022-07-11T12:37:47.103" v="3079"/>
          <ac:spMkLst>
            <pc:docMk/>
            <pc:sldMk cId="151799418" sldId="292"/>
            <ac:spMk id="7" creationId="{BE9A5A49-0D25-7B05-4F49-44782419DFD8}"/>
          </ac:spMkLst>
        </pc:spChg>
        <pc:spChg chg="add del mod modVis">
          <ac:chgData name="Patrick Alexander Franke" userId="423e9112-617d-4b87-a2e3-99cbfd97dbec" providerId="ADAL" clId="{76594E52-3920-453B-A9AF-B690723259B3}" dt="2022-07-11T12:37:49.301" v="3147"/>
          <ac:spMkLst>
            <pc:docMk/>
            <pc:sldMk cId="151799418" sldId="292"/>
            <ac:spMk id="9" creationId="{725E0B27-1BAF-4E02-1865-96FBA99A21F9}"/>
          </ac:spMkLst>
        </pc:spChg>
        <pc:spChg chg="add del mod modVis">
          <ac:chgData name="Patrick Alexander Franke" userId="423e9112-617d-4b87-a2e3-99cbfd97dbec" providerId="ADAL" clId="{76594E52-3920-453B-A9AF-B690723259B3}" dt="2022-07-11T12:37:49.933" v="3194"/>
          <ac:spMkLst>
            <pc:docMk/>
            <pc:sldMk cId="151799418" sldId="292"/>
            <ac:spMk id="10" creationId="{1CFBAA24-3607-28DC-14BF-4C9FA80D9FE4}"/>
          </ac:spMkLst>
        </pc:spChg>
        <pc:spChg chg="del">
          <ac:chgData name="Patrick Alexander Franke" userId="423e9112-617d-4b87-a2e3-99cbfd97dbec" providerId="ADAL" clId="{76594E52-3920-453B-A9AF-B690723259B3}" dt="2022-07-11T12:37:56.109" v="3257" actId="478"/>
          <ac:spMkLst>
            <pc:docMk/>
            <pc:sldMk cId="151799418" sldId="292"/>
            <ac:spMk id="11" creationId="{BA1B6992-312C-F7E4-EF1C-17B48236AABA}"/>
          </ac:spMkLst>
        </pc:spChg>
        <pc:spChg chg="add del mod modVis">
          <ac:chgData name="Patrick Alexander Franke" userId="423e9112-617d-4b87-a2e3-99cbfd97dbec" providerId="ADAL" clId="{76594E52-3920-453B-A9AF-B690723259B3}" dt="2022-07-11T12:37:52.886" v="3254"/>
          <ac:spMkLst>
            <pc:docMk/>
            <pc:sldMk cId="151799418" sldId="292"/>
            <ac:spMk id="12" creationId="{59D759B7-78E6-EB12-F141-47FC9824AA11}"/>
          </ac:spMkLst>
        </pc:spChg>
        <pc:spChg chg="add mod">
          <ac:chgData name="Patrick Alexander Franke" userId="423e9112-617d-4b87-a2e3-99cbfd97dbec" providerId="ADAL" clId="{76594E52-3920-453B-A9AF-B690723259B3}" dt="2022-07-11T13:04:28.369" v="3915" actId="1076"/>
          <ac:spMkLst>
            <pc:docMk/>
            <pc:sldMk cId="151799418" sldId="292"/>
            <ac:spMk id="13" creationId="{7C7FAEAF-F0B4-1E97-520D-FB3F569E5C95}"/>
          </ac:spMkLst>
        </pc:spChg>
        <pc:spChg chg="mod">
          <ac:chgData name="Patrick Alexander Franke" userId="423e9112-617d-4b87-a2e3-99cbfd97dbec" providerId="ADAL" clId="{76594E52-3920-453B-A9AF-B690723259B3}" dt="2022-07-13T22:57:34.604" v="6972" actId="1036"/>
          <ac:spMkLst>
            <pc:docMk/>
            <pc:sldMk cId="151799418" sldId="292"/>
            <ac:spMk id="14" creationId="{5DB189DC-8295-C6B1-4007-455879F86605}"/>
          </ac:spMkLst>
        </pc:spChg>
        <pc:spChg chg="add mod">
          <ac:chgData name="Patrick Alexander Franke" userId="423e9112-617d-4b87-a2e3-99cbfd97dbec" providerId="ADAL" clId="{76594E52-3920-453B-A9AF-B690723259B3}" dt="2022-07-11T13:03:42.713" v="3897" actId="1037"/>
          <ac:spMkLst>
            <pc:docMk/>
            <pc:sldMk cId="151799418" sldId="292"/>
            <ac:spMk id="15" creationId="{E3F2E010-BE34-5D0B-34D1-38AD0774516A}"/>
          </ac:spMkLst>
        </pc:spChg>
        <pc:spChg chg="add mod">
          <ac:chgData name="Patrick Alexander Franke" userId="423e9112-617d-4b87-a2e3-99cbfd97dbec" providerId="ADAL" clId="{76594E52-3920-453B-A9AF-B690723259B3}" dt="2022-07-11T13:03:49.789" v="3900" actId="1037"/>
          <ac:spMkLst>
            <pc:docMk/>
            <pc:sldMk cId="151799418" sldId="292"/>
            <ac:spMk id="16" creationId="{81A9CE7D-64FB-CFD4-34AA-ABC88DE37260}"/>
          </ac:spMkLst>
        </pc:spChg>
        <pc:spChg chg="add mod">
          <ac:chgData name="Patrick Alexander Franke" userId="423e9112-617d-4b87-a2e3-99cbfd97dbec" providerId="ADAL" clId="{76594E52-3920-453B-A9AF-B690723259B3}" dt="2022-07-11T13:03:56.883" v="3903" actId="1037"/>
          <ac:spMkLst>
            <pc:docMk/>
            <pc:sldMk cId="151799418" sldId="292"/>
            <ac:spMk id="17" creationId="{E11F8991-745B-17A3-6093-3AE85C37EC02}"/>
          </ac:spMkLst>
        </pc:spChg>
        <pc:spChg chg="add mod">
          <ac:chgData name="Patrick Alexander Franke" userId="423e9112-617d-4b87-a2e3-99cbfd97dbec" providerId="ADAL" clId="{76594E52-3920-453B-A9AF-B690723259B3}" dt="2022-07-11T13:04:00.699" v="3905" actId="1038"/>
          <ac:spMkLst>
            <pc:docMk/>
            <pc:sldMk cId="151799418" sldId="292"/>
            <ac:spMk id="18" creationId="{F9603934-10C6-4B4F-46EC-2FBC67A7EAE7}"/>
          </ac:spMkLst>
        </pc:spChg>
        <pc:spChg chg="add del mod">
          <ac:chgData name="Patrick Alexander Franke" userId="423e9112-617d-4b87-a2e3-99cbfd97dbec" providerId="ADAL" clId="{76594E52-3920-453B-A9AF-B690723259B3}" dt="2022-07-11T12:58:54.327" v="3497" actId="21"/>
          <ac:spMkLst>
            <pc:docMk/>
            <pc:sldMk cId="151799418" sldId="292"/>
            <ac:spMk id="19" creationId="{7EC9DFA2-1457-6209-6E18-3FB7CE8DD506}"/>
          </ac:spMkLst>
        </pc:spChg>
        <pc:spChg chg="add del mod">
          <ac:chgData name="Patrick Alexander Franke" userId="423e9112-617d-4b87-a2e3-99cbfd97dbec" providerId="ADAL" clId="{76594E52-3920-453B-A9AF-B690723259B3}" dt="2022-07-11T12:58:54.327" v="3497" actId="21"/>
          <ac:spMkLst>
            <pc:docMk/>
            <pc:sldMk cId="151799418" sldId="292"/>
            <ac:spMk id="20" creationId="{8FCD0413-362B-6A97-72AC-FC64085C5C67}"/>
          </ac:spMkLst>
        </pc:spChg>
        <pc:spChg chg="add del mod">
          <ac:chgData name="Patrick Alexander Franke" userId="423e9112-617d-4b87-a2e3-99cbfd97dbec" providerId="ADAL" clId="{76594E52-3920-453B-A9AF-B690723259B3}" dt="2022-07-11T12:58:54.327" v="3497" actId="21"/>
          <ac:spMkLst>
            <pc:docMk/>
            <pc:sldMk cId="151799418" sldId="292"/>
            <ac:spMk id="21" creationId="{CFB220F7-7A12-C6E6-EE6F-5FFB205696A6}"/>
          </ac:spMkLst>
        </pc:spChg>
        <pc:spChg chg="add del mod">
          <ac:chgData name="Patrick Alexander Franke" userId="423e9112-617d-4b87-a2e3-99cbfd97dbec" providerId="ADAL" clId="{76594E52-3920-453B-A9AF-B690723259B3}" dt="2022-07-11T12:58:54.327" v="3497" actId="21"/>
          <ac:spMkLst>
            <pc:docMk/>
            <pc:sldMk cId="151799418" sldId="292"/>
            <ac:spMk id="22" creationId="{8FD97096-4833-3B64-BBC4-CE85FE692AE7}"/>
          </ac:spMkLst>
        </pc:spChg>
        <pc:spChg chg="add del mod">
          <ac:chgData name="Patrick Alexander Franke" userId="423e9112-617d-4b87-a2e3-99cbfd97dbec" providerId="ADAL" clId="{76594E52-3920-453B-A9AF-B690723259B3}" dt="2022-07-13T22:57:14.954" v="6962" actId="478"/>
          <ac:spMkLst>
            <pc:docMk/>
            <pc:sldMk cId="151799418" sldId="292"/>
            <ac:spMk id="25" creationId="{E0A70687-CAC1-B2AC-9BDD-575A2AE7A383}"/>
          </ac:spMkLst>
        </pc:spChg>
        <pc:spChg chg="add del mod modVis">
          <ac:chgData name="Patrick Alexander Franke" userId="423e9112-617d-4b87-a2e3-99cbfd97dbec" providerId="ADAL" clId="{76594E52-3920-453B-A9AF-B690723259B3}" dt="2022-07-11T13:12:57.734" v="4059"/>
          <ac:spMkLst>
            <pc:docMk/>
            <pc:sldMk cId="151799418" sldId="292"/>
            <ac:spMk id="26" creationId="{D52C8A3C-531C-AE85-9A65-8EFB7ED82492}"/>
          </ac:spMkLst>
        </pc:spChg>
        <pc:spChg chg="add del mod modVis">
          <ac:chgData name="Patrick Alexander Franke" userId="423e9112-617d-4b87-a2e3-99cbfd97dbec" providerId="ADAL" clId="{76594E52-3920-453B-A9AF-B690723259B3}" dt="2022-07-11T13:13:08.381" v="4111"/>
          <ac:spMkLst>
            <pc:docMk/>
            <pc:sldMk cId="151799418" sldId="292"/>
            <ac:spMk id="27" creationId="{B867F437-E42F-955B-88A1-EAAB77B8AD95}"/>
          </ac:spMkLst>
        </pc:spChg>
        <pc:spChg chg="add del mod modVis">
          <ac:chgData name="Patrick Alexander Franke" userId="423e9112-617d-4b87-a2e3-99cbfd97dbec" providerId="ADAL" clId="{76594E52-3920-453B-A9AF-B690723259B3}" dt="2022-07-11T13:13:15.144" v="4160"/>
          <ac:spMkLst>
            <pc:docMk/>
            <pc:sldMk cId="151799418" sldId="292"/>
            <ac:spMk id="28" creationId="{71F22006-E603-98D1-D253-6E3A06132E87}"/>
          </ac:spMkLst>
        </pc:spChg>
        <pc:spChg chg="add del mod modVis">
          <ac:chgData name="Patrick Alexander Franke" userId="423e9112-617d-4b87-a2e3-99cbfd97dbec" providerId="ADAL" clId="{76594E52-3920-453B-A9AF-B690723259B3}" dt="2022-07-11T13:14:37.324" v="5415"/>
          <ac:spMkLst>
            <pc:docMk/>
            <pc:sldMk cId="151799418" sldId="292"/>
            <ac:spMk id="29" creationId="{2D543E61-7E41-7C23-D318-34C161752674}"/>
          </ac:spMkLst>
        </pc:spChg>
        <pc:spChg chg="add del mod modVis">
          <ac:chgData name="Patrick Alexander Franke" userId="423e9112-617d-4b87-a2e3-99cbfd97dbec" providerId="ADAL" clId="{76594E52-3920-453B-A9AF-B690723259B3}" dt="2022-07-11T13:14:37.956" v="5460"/>
          <ac:spMkLst>
            <pc:docMk/>
            <pc:sldMk cId="151799418" sldId="292"/>
            <ac:spMk id="30" creationId="{DD6FB63B-C0B6-126F-F2BD-F4450F404440}"/>
          </ac:spMkLst>
        </pc:spChg>
        <pc:spChg chg="add del mod modVis">
          <ac:chgData name="Patrick Alexander Franke" userId="423e9112-617d-4b87-a2e3-99cbfd97dbec" providerId="ADAL" clId="{76594E52-3920-453B-A9AF-B690723259B3}" dt="2022-07-11T13:14:40.706" v="5512"/>
          <ac:spMkLst>
            <pc:docMk/>
            <pc:sldMk cId="151799418" sldId="292"/>
            <ac:spMk id="31" creationId="{9FBDBBCE-C183-CD77-B2C5-B75C8789284E}"/>
          </ac:spMkLst>
        </pc:spChg>
        <pc:spChg chg="add mod">
          <ac:chgData name="Patrick Alexander Franke" userId="423e9112-617d-4b87-a2e3-99cbfd97dbec" providerId="ADAL" clId="{76594E52-3920-453B-A9AF-B690723259B3}" dt="2022-07-11T13:18:09.646" v="5747" actId="571"/>
          <ac:spMkLst>
            <pc:docMk/>
            <pc:sldMk cId="151799418" sldId="292"/>
            <ac:spMk id="33" creationId="{6062525C-0AFC-8A56-E6EF-57D37927AC98}"/>
          </ac:spMkLst>
        </pc:spChg>
        <pc:graphicFrameChg chg="add mod ord modVis replST delST">
          <ac:chgData name="Patrick Alexander Franke" userId="423e9112-617d-4b87-a2e3-99cbfd97dbec" providerId="ADAL" clId="{76594E52-3920-453B-A9AF-B690723259B3}" dt="2022-07-11T12:37:44.384" v="2994" actId="14100"/>
          <ac:graphicFrameMkLst>
            <pc:docMk/>
            <pc:sldMk cId="151799418" sldId="292"/>
            <ac:graphicFrameMk id="5" creationId="{F366FA33-E0C8-D2C1-1A21-B426026A136F}"/>
          </ac:graphicFrameMkLst>
        </pc:graphicFrameChg>
        <pc:graphicFrameChg chg="add mod ord modVis replST">
          <ac:chgData name="Patrick Alexander Franke" userId="423e9112-617d-4b87-a2e3-99cbfd97dbec" providerId="ADAL" clId="{76594E52-3920-453B-A9AF-B690723259B3}" dt="2022-07-12T16:04:36.416" v="6441"/>
          <ac:graphicFrameMkLst>
            <pc:docMk/>
            <pc:sldMk cId="151799418" sldId="292"/>
            <ac:graphicFrameMk id="8" creationId="{10076767-404E-D5C7-DF70-016A75DEB26A}"/>
          </ac:graphicFrameMkLst>
        </pc:graphicFrameChg>
        <pc:picChg chg="add del mod">
          <ac:chgData name="Patrick Alexander Franke" userId="423e9112-617d-4b87-a2e3-99cbfd97dbec" providerId="ADAL" clId="{76594E52-3920-453B-A9AF-B690723259B3}" dt="2022-07-11T12:58:54.327" v="3497" actId="21"/>
          <ac:picMkLst>
            <pc:docMk/>
            <pc:sldMk cId="151799418" sldId="292"/>
            <ac:picMk id="14" creationId="{4E678A78-8B9C-94CB-BC0B-354C33ECE602}"/>
          </ac:picMkLst>
        </pc:picChg>
        <pc:picChg chg="add mod">
          <ac:chgData name="Patrick Alexander Franke" userId="423e9112-617d-4b87-a2e3-99cbfd97dbec" providerId="ADAL" clId="{76594E52-3920-453B-A9AF-B690723259B3}" dt="2022-07-11T13:04:28.369" v="3915" actId="1076"/>
          <ac:picMkLst>
            <pc:docMk/>
            <pc:sldMk cId="151799418" sldId="292"/>
            <ac:picMk id="24" creationId="{DFAF6E5E-3396-F0E7-A0DE-B6E26129F48E}"/>
          </ac:picMkLst>
        </pc:picChg>
        <pc:picChg chg="add mod">
          <ac:chgData name="Patrick Alexander Franke" userId="423e9112-617d-4b87-a2e3-99cbfd97dbec" providerId="ADAL" clId="{76594E52-3920-453B-A9AF-B690723259B3}" dt="2022-07-11T13:04:19.272" v="3914" actId="408"/>
          <ac:picMkLst>
            <pc:docMk/>
            <pc:sldMk cId="151799418" sldId="292"/>
            <ac:picMk id="2050" creationId="{E36192BC-8214-BAD3-1B20-BC464A0030DC}"/>
          </ac:picMkLst>
        </pc:picChg>
      </pc:sldChg>
      <pc:sldChg chg="addSp delSp modSp mod">
        <pc:chgData name="Patrick Alexander Franke" userId="423e9112-617d-4b87-a2e3-99cbfd97dbec" providerId="ADAL" clId="{76594E52-3920-453B-A9AF-B690723259B3}" dt="2022-07-11T13:21:27.522" v="6418"/>
        <pc:sldMkLst>
          <pc:docMk/>
          <pc:sldMk cId="2203184600" sldId="293"/>
        </pc:sldMkLst>
        <pc:spChg chg="mod">
          <ac:chgData name="Patrick Alexander Franke" userId="423e9112-617d-4b87-a2e3-99cbfd97dbec" providerId="ADAL" clId="{76594E52-3920-453B-A9AF-B690723259B3}" dt="2022-07-11T13:21:27.500" v="6414" actId="948"/>
          <ac:spMkLst>
            <pc:docMk/>
            <pc:sldMk cId="2203184600" sldId="293"/>
            <ac:spMk id="2" creationId="{C6785AE7-8B00-486C-9A8C-F571C93177E4}"/>
          </ac:spMkLst>
        </pc:spChg>
        <pc:spChg chg="add del mod modVis">
          <ac:chgData name="Patrick Alexander Franke" userId="423e9112-617d-4b87-a2e3-99cbfd97dbec" providerId="ADAL" clId="{76594E52-3920-453B-A9AF-B690723259B3}" dt="2022-07-11T13:18:18.057" v="5804"/>
          <ac:spMkLst>
            <pc:docMk/>
            <pc:sldMk cId="2203184600" sldId="293"/>
            <ac:spMk id="3" creationId="{0C964EF2-59C7-B636-EA28-679BDBD44B0F}"/>
          </ac:spMkLst>
        </pc:spChg>
        <pc:spChg chg="add del mod modVis">
          <ac:chgData name="Patrick Alexander Franke" userId="423e9112-617d-4b87-a2e3-99cbfd97dbec" providerId="ADAL" clId="{76594E52-3920-453B-A9AF-B690723259B3}" dt="2022-07-11T13:18:18.805" v="5864"/>
          <ac:spMkLst>
            <pc:docMk/>
            <pc:sldMk cId="2203184600" sldId="293"/>
            <ac:spMk id="7" creationId="{AD5B633C-E72A-FDC7-ABD1-0DF94E7EFCE1}"/>
          </ac:spMkLst>
        </pc:spChg>
        <pc:spChg chg="add del mod modVis">
          <ac:chgData name="Patrick Alexander Franke" userId="423e9112-617d-4b87-a2e3-99cbfd97dbec" providerId="ADAL" clId="{76594E52-3920-453B-A9AF-B690723259B3}" dt="2022-07-11T13:18:20.256" v="5910"/>
          <ac:spMkLst>
            <pc:docMk/>
            <pc:sldMk cId="2203184600" sldId="293"/>
            <ac:spMk id="8" creationId="{74DE38D0-BE3E-0708-FCAD-89909E9DE543}"/>
          </ac:spMkLst>
        </pc:spChg>
        <pc:spChg chg="add del mod modVis">
          <ac:chgData name="Patrick Alexander Franke" userId="423e9112-617d-4b87-a2e3-99cbfd97dbec" providerId="ADAL" clId="{76594E52-3920-453B-A9AF-B690723259B3}" dt="2022-07-11T13:18:21.164" v="5957"/>
          <ac:spMkLst>
            <pc:docMk/>
            <pc:sldMk cId="2203184600" sldId="293"/>
            <ac:spMk id="9" creationId="{F921B7E6-90DE-709C-D02E-7E42B6B4BF56}"/>
          </ac:spMkLst>
        </pc:spChg>
        <pc:spChg chg="add del mod modVis">
          <ac:chgData name="Patrick Alexander Franke" userId="423e9112-617d-4b87-a2e3-99cbfd97dbec" providerId="ADAL" clId="{76594E52-3920-453B-A9AF-B690723259B3}" dt="2022-07-11T13:18:23.299" v="6011"/>
          <ac:spMkLst>
            <pc:docMk/>
            <pc:sldMk cId="2203184600" sldId="293"/>
            <ac:spMk id="10" creationId="{15D39FA8-B6A3-9105-87A5-EF39D7C4395A}"/>
          </ac:spMkLst>
        </pc:spChg>
        <pc:spChg chg="del mod">
          <ac:chgData name="Patrick Alexander Franke" userId="423e9112-617d-4b87-a2e3-99cbfd97dbec" providerId="ADAL" clId="{76594E52-3920-453B-A9AF-B690723259B3}" dt="2022-07-11T13:20:45.780" v="6321" actId="478"/>
          <ac:spMkLst>
            <pc:docMk/>
            <pc:sldMk cId="2203184600" sldId="293"/>
            <ac:spMk id="11" creationId="{BA1B6992-312C-F7E4-EF1C-17B48236AABA}"/>
          </ac:spMkLst>
        </pc:spChg>
        <pc:spChg chg="add del mod modVis">
          <ac:chgData name="Patrick Alexander Franke" userId="423e9112-617d-4b87-a2e3-99cbfd97dbec" providerId="ADAL" clId="{76594E52-3920-453B-A9AF-B690723259B3}" dt="2022-07-11T13:18:24.312" v="6057"/>
          <ac:spMkLst>
            <pc:docMk/>
            <pc:sldMk cId="2203184600" sldId="293"/>
            <ac:spMk id="12" creationId="{DEF3F0C6-E57D-EF21-38F3-E47285792FEE}"/>
          </ac:spMkLst>
        </pc:spChg>
        <pc:spChg chg="add del mod modVis">
          <ac:chgData name="Patrick Alexander Franke" userId="423e9112-617d-4b87-a2e3-99cbfd97dbec" providerId="ADAL" clId="{76594E52-3920-453B-A9AF-B690723259B3}" dt="2022-07-11T13:18:25.685" v="6102"/>
          <ac:spMkLst>
            <pc:docMk/>
            <pc:sldMk cId="2203184600" sldId="293"/>
            <ac:spMk id="13" creationId="{3A6E76B0-BD69-0E48-06A4-0915EAF3807C}"/>
          </ac:spMkLst>
        </pc:spChg>
        <pc:spChg chg="add del mod modVis">
          <ac:chgData name="Patrick Alexander Franke" userId="423e9112-617d-4b87-a2e3-99cbfd97dbec" providerId="ADAL" clId="{76594E52-3920-453B-A9AF-B690723259B3}" dt="2022-07-11T13:18:33.290" v="6157"/>
          <ac:spMkLst>
            <pc:docMk/>
            <pc:sldMk cId="2203184600" sldId="293"/>
            <ac:spMk id="14" creationId="{5274AC07-9F23-1048-5921-04F6AA140D12}"/>
          </ac:spMkLst>
        </pc:spChg>
        <pc:spChg chg="add del mod modVis">
          <ac:chgData name="Patrick Alexander Franke" userId="423e9112-617d-4b87-a2e3-99cbfd97dbec" providerId="ADAL" clId="{76594E52-3920-453B-A9AF-B690723259B3}" dt="2022-07-11T13:18:33.996" v="6202"/>
          <ac:spMkLst>
            <pc:docMk/>
            <pc:sldMk cId="2203184600" sldId="293"/>
            <ac:spMk id="15" creationId="{CC3E3AB1-B0C2-6BAE-5704-0D18813BF19B}"/>
          </ac:spMkLst>
        </pc:spChg>
        <pc:spChg chg="add del mod modVis">
          <ac:chgData name="Patrick Alexander Franke" userId="423e9112-617d-4b87-a2e3-99cbfd97dbec" providerId="ADAL" clId="{76594E52-3920-453B-A9AF-B690723259B3}" dt="2022-07-11T13:18:36.837" v="6254"/>
          <ac:spMkLst>
            <pc:docMk/>
            <pc:sldMk cId="2203184600" sldId="293"/>
            <ac:spMk id="16" creationId="{208CA8C6-1E0A-D776-97EE-42DE1112D3DF}"/>
          </ac:spMkLst>
        </pc:spChg>
        <pc:spChg chg="add mod">
          <ac:chgData name="Patrick Alexander Franke" userId="423e9112-617d-4b87-a2e3-99cbfd97dbec" providerId="ADAL" clId="{76594E52-3920-453B-A9AF-B690723259B3}" dt="2022-07-11T13:21:11.287" v="6394" actId="20577"/>
          <ac:spMkLst>
            <pc:docMk/>
            <pc:sldMk cId="2203184600" sldId="293"/>
            <ac:spMk id="17" creationId="{25EBE807-13CC-BFA6-BB7E-636608122565}"/>
          </ac:spMkLst>
        </pc:spChg>
        <pc:graphicFrameChg chg="add mod ord modVis replST">
          <ac:chgData name="Patrick Alexander Franke" userId="423e9112-617d-4b87-a2e3-99cbfd97dbec" providerId="ADAL" clId="{76594E52-3920-453B-A9AF-B690723259B3}" dt="2022-07-11T13:21:27.522" v="6418"/>
          <ac:graphicFrameMkLst>
            <pc:docMk/>
            <pc:sldMk cId="2203184600" sldId="293"/>
            <ac:graphicFrameMk id="5" creationId="{29EA4A66-1C4C-444A-471A-5A1E6CFD050B}"/>
          </ac:graphicFrameMkLst>
        </pc:graphicFrameChg>
      </pc:sldChg>
      <pc:sldChg chg="addSp delSp modSp mod modTransition modShow addCm">
        <pc:chgData name="Patrick Alexander Franke" userId="423e9112-617d-4b87-a2e3-99cbfd97dbec" providerId="ADAL" clId="{76594E52-3920-453B-A9AF-B690723259B3}" dt="2022-07-12T16:04:55.158" v="6445"/>
        <pc:sldMkLst>
          <pc:docMk/>
          <pc:sldMk cId="2999950534" sldId="294"/>
        </pc:sldMkLst>
        <pc:spChg chg="mod">
          <ac:chgData name="Patrick Alexander Franke" userId="423e9112-617d-4b87-a2e3-99cbfd97dbec" providerId="ADAL" clId="{76594E52-3920-453B-A9AF-B690723259B3}" dt="2022-07-11T13:14:03.985" v="4790" actId="948"/>
          <ac:spMkLst>
            <pc:docMk/>
            <pc:sldMk cId="2999950534" sldId="294"/>
            <ac:spMk id="2" creationId="{C6785AE7-8B00-486C-9A8C-F571C93177E4}"/>
          </ac:spMkLst>
        </pc:spChg>
        <pc:spChg chg="add del mod modVis">
          <ac:chgData name="Patrick Alexander Franke" userId="423e9112-617d-4b87-a2e3-99cbfd97dbec" providerId="ADAL" clId="{76594E52-3920-453B-A9AF-B690723259B3}" dt="2022-07-11T12:01:41.619" v="759"/>
          <ac:spMkLst>
            <pc:docMk/>
            <pc:sldMk cId="2999950534" sldId="294"/>
            <ac:spMk id="3" creationId="{AAD986AA-0157-EA0D-A385-ADF27AE68E7E}"/>
          </ac:spMkLst>
        </pc:spChg>
        <pc:spChg chg="add del mod modVis">
          <ac:chgData name="Patrick Alexander Franke" userId="423e9112-617d-4b87-a2e3-99cbfd97dbec" providerId="ADAL" clId="{76594E52-3920-453B-A9AF-B690723259B3}" dt="2022-07-11T12:07:06.800" v="1353"/>
          <ac:spMkLst>
            <pc:docMk/>
            <pc:sldMk cId="2999950534" sldId="294"/>
            <ac:spMk id="9" creationId="{00272919-6EA0-6664-F38E-F71DCCEC02E7}"/>
          </ac:spMkLst>
        </pc:spChg>
        <pc:spChg chg="add del mod modVis">
          <ac:chgData name="Patrick Alexander Franke" userId="423e9112-617d-4b87-a2e3-99cbfd97dbec" providerId="ADAL" clId="{76594E52-3920-453B-A9AF-B690723259B3}" dt="2022-07-11T12:07:07.968" v="1417"/>
          <ac:spMkLst>
            <pc:docMk/>
            <pc:sldMk cId="2999950534" sldId="294"/>
            <ac:spMk id="10" creationId="{3D7091B2-DA48-A5A7-2FA8-D452FCB1FA76}"/>
          </ac:spMkLst>
        </pc:spChg>
        <pc:spChg chg="add del mod modVis">
          <ac:chgData name="Patrick Alexander Franke" userId="423e9112-617d-4b87-a2e3-99cbfd97dbec" providerId="ADAL" clId="{76594E52-3920-453B-A9AF-B690723259B3}" dt="2022-07-11T12:07:09.976" v="1471"/>
          <ac:spMkLst>
            <pc:docMk/>
            <pc:sldMk cId="2999950534" sldId="294"/>
            <ac:spMk id="12" creationId="{36A4636B-F325-0DAD-7171-2C75BDC36A40}"/>
          </ac:spMkLst>
        </pc:spChg>
        <pc:spChg chg="add del mod modVis">
          <ac:chgData name="Patrick Alexander Franke" userId="423e9112-617d-4b87-a2e3-99cbfd97dbec" providerId="ADAL" clId="{76594E52-3920-453B-A9AF-B690723259B3}" dt="2022-07-11T12:07:10.513" v="1516"/>
          <ac:spMkLst>
            <pc:docMk/>
            <pc:sldMk cId="2999950534" sldId="294"/>
            <ac:spMk id="13" creationId="{CCB320F3-A8C3-33D4-DDB7-CF8FC7D824BB}"/>
          </ac:spMkLst>
        </pc:spChg>
        <pc:spChg chg="add del mod modVis">
          <ac:chgData name="Patrick Alexander Franke" userId="423e9112-617d-4b87-a2e3-99cbfd97dbec" providerId="ADAL" clId="{76594E52-3920-453B-A9AF-B690723259B3}" dt="2022-07-11T12:07:13.516" v="1579"/>
          <ac:spMkLst>
            <pc:docMk/>
            <pc:sldMk cId="2999950534" sldId="294"/>
            <ac:spMk id="15" creationId="{5E973522-ABF3-120A-74DA-12C65EC94EA2}"/>
          </ac:spMkLst>
        </pc:spChg>
        <pc:spChg chg="add del mod modVis">
          <ac:chgData name="Patrick Alexander Franke" userId="423e9112-617d-4b87-a2e3-99cbfd97dbec" providerId="ADAL" clId="{76594E52-3920-453B-A9AF-B690723259B3}" dt="2022-07-11T12:07:17.487" v="1626"/>
          <ac:spMkLst>
            <pc:docMk/>
            <pc:sldMk cId="2999950534" sldId="294"/>
            <ac:spMk id="18" creationId="{238781E8-8ADB-7791-4D82-4F00F0AF5599}"/>
          </ac:spMkLst>
        </pc:spChg>
        <pc:spChg chg="add del mod modVis">
          <ac:chgData name="Patrick Alexander Franke" userId="423e9112-617d-4b87-a2e3-99cbfd97dbec" providerId="ADAL" clId="{76594E52-3920-453B-A9AF-B690723259B3}" dt="2022-07-11T12:07:19.008" v="1678"/>
          <ac:spMkLst>
            <pc:docMk/>
            <pc:sldMk cId="2999950534" sldId="294"/>
            <ac:spMk id="19" creationId="{04056E2D-E4D3-59D9-D0B8-A6C52B8CD3E6}"/>
          </ac:spMkLst>
        </pc:spChg>
        <pc:spChg chg="add del mod modVis">
          <ac:chgData name="Patrick Alexander Franke" userId="423e9112-617d-4b87-a2e3-99cbfd97dbec" providerId="ADAL" clId="{76594E52-3920-453B-A9AF-B690723259B3}" dt="2022-07-11T12:08:38.649" v="1860"/>
          <ac:spMkLst>
            <pc:docMk/>
            <pc:sldMk cId="2999950534" sldId="294"/>
            <ac:spMk id="20" creationId="{9B299F5D-6C0B-0855-5B59-139269FB3710}"/>
          </ac:spMkLst>
        </pc:spChg>
        <pc:spChg chg="add mod">
          <ac:chgData name="Patrick Alexander Franke" userId="423e9112-617d-4b87-a2e3-99cbfd97dbec" providerId="ADAL" clId="{76594E52-3920-453B-A9AF-B690723259B3}" dt="2022-07-11T12:09:29.551" v="2183" actId="571"/>
          <ac:spMkLst>
            <pc:docMk/>
            <pc:sldMk cId="2999950534" sldId="294"/>
            <ac:spMk id="21" creationId="{3BC67E46-A0F7-E0FC-07D8-ADEE34A28418}"/>
          </ac:spMkLst>
        </pc:spChg>
        <pc:spChg chg="add del mod modVis">
          <ac:chgData name="Patrick Alexander Franke" userId="423e9112-617d-4b87-a2e3-99cbfd97dbec" providerId="ADAL" clId="{76594E52-3920-453B-A9AF-B690723259B3}" dt="2022-07-11T13:11:24.459" v="4003"/>
          <ac:spMkLst>
            <pc:docMk/>
            <pc:sldMk cId="2999950534" sldId="294"/>
            <ac:spMk id="22" creationId="{7B4316AD-1DE1-9B8F-BFEC-7DDEFF28DE8A}"/>
          </ac:spMkLst>
        </pc:spChg>
        <pc:spChg chg="add del mod modVis">
          <ac:chgData name="Patrick Alexander Franke" userId="423e9112-617d-4b87-a2e3-99cbfd97dbec" providerId="ADAL" clId="{76594E52-3920-453B-A9AF-B690723259B3}" dt="2022-07-11T13:13:59.957" v="4733"/>
          <ac:spMkLst>
            <pc:docMk/>
            <pc:sldMk cId="2999950534" sldId="294"/>
            <ac:spMk id="23" creationId="{45EAF8D6-67FA-113E-611D-1656F6401157}"/>
          </ac:spMkLst>
        </pc:spChg>
        <pc:spChg chg="add del mod modVis">
          <ac:chgData name="Patrick Alexander Franke" userId="423e9112-617d-4b87-a2e3-99cbfd97dbec" providerId="ADAL" clId="{76594E52-3920-453B-A9AF-B690723259B3}" dt="2022-07-11T13:14:01.108" v="4779"/>
          <ac:spMkLst>
            <pc:docMk/>
            <pc:sldMk cId="2999950534" sldId="294"/>
            <ac:spMk id="24" creationId="{BDD63B06-7BAF-78B2-68EE-6292AF16399B}"/>
          </ac:spMkLst>
        </pc:spChg>
        <pc:spChg chg="add del mod modVis">
          <ac:chgData name="Patrick Alexander Franke" userId="423e9112-617d-4b87-a2e3-99cbfd97dbec" providerId="ADAL" clId="{76594E52-3920-453B-A9AF-B690723259B3}" dt="2022-07-11T13:14:04.084" v="4831"/>
          <ac:spMkLst>
            <pc:docMk/>
            <pc:sldMk cId="2999950534" sldId="294"/>
            <ac:spMk id="25" creationId="{2DC75315-7D85-3974-5FBD-0DBE814C4930}"/>
          </ac:spMkLst>
        </pc:spChg>
        <pc:graphicFrameChg chg="add mod ord modVis replST">
          <ac:chgData name="Patrick Alexander Franke" userId="423e9112-617d-4b87-a2e3-99cbfd97dbec" providerId="ADAL" clId="{76594E52-3920-453B-A9AF-B690723259B3}" dt="2022-07-12T16:04:55.158" v="6445"/>
          <ac:graphicFrameMkLst>
            <pc:docMk/>
            <pc:sldMk cId="2999950534" sldId="294"/>
            <ac:graphicFrameMk id="5" creationId="{C7A9596C-1F92-61C8-B051-9FBAD92AEF70}"/>
          </ac:graphicFrameMkLst>
        </pc:graphicFrameChg>
      </pc:sldChg>
      <pc:sldChg chg="addSp delSp modSp add mod addCm modCm">
        <pc:chgData name="Patrick Alexander Franke" userId="423e9112-617d-4b87-a2e3-99cbfd97dbec" providerId="ADAL" clId="{76594E52-3920-453B-A9AF-B690723259B3}" dt="2022-07-13T22:36:32.746" v="6923" actId="1035"/>
        <pc:sldMkLst>
          <pc:docMk/>
          <pc:sldMk cId="3632883391" sldId="296"/>
        </pc:sldMkLst>
        <pc:spChg chg="mod">
          <ac:chgData name="Patrick Alexander Franke" userId="423e9112-617d-4b87-a2e3-99cbfd97dbec" providerId="ADAL" clId="{76594E52-3920-453B-A9AF-B690723259B3}" dt="2022-07-11T13:14:30.791" v="5326" actId="948"/>
          <ac:spMkLst>
            <pc:docMk/>
            <pc:sldMk cId="3632883391" sldId="296"/>
            <ac:spMk id="2" creationId="{C6785AE7-8B00-486C-9A8C-F571C93177E4}"/>
          </ac:spMkLst>
        </pc:spChg>
        <pc:spChg chg="add del mod modVis">
          <ac:chgData name="Patrick Alexander Franke" userId="423e9112-617d-4b87-a2e3-99cbfd97dbec" providerId="ADAL" clId="{76594E52-3920-453B-A9AF-B690723259B3}" dt="2022-07-11T13:13:18.266" v="4205"/>
          <ac:spMkLst>
            <pc:docMk/>
            <pc:sldMk cId="3632883391" sldId="296"/>
            <ac:spMk id="3" creationId="{21750FE3-7C90-66EB-D5B1-601D09BA907F}"/>
          </ac:spMkLst>
        </pc:spChg>
        <pc:spChg chg="add del mod modVis">
          <ac:chgData name="Patrick Alexander Franke" userId="423e9112-617d-4b87-a2e3-99cbfd97dbec" providerId="ADAL" clId="{76594E52-3920-453B-A9AF-B690723259B3}" dt="2022-07-11T13:14:23.921" v="5166"/>
          <ac:spMkLst>
            <pc:docMk/>
            <pc:sldMk cId="3632883391" sldId="296"/>
            <ac:spMk id="7" creationId="{F27256B0-B517-96FC-93E7-ADF799F68BDF}"/>
          </ac:spMkLst>
        </pc:spChg>
        <pc:spChg chg="add mod">
          <ac:chgData name="Patrick Alexander Franke" userId="423e9112-617d-4b87-a2e3-99cbfd97dbec" providerId="ADAL" clId="{76594E52-3920-453B-A9AF-B690723259B3}" dt="2022-07-13T22:36:30.900" v="6916" actId="1076"/>
          <ac:spMkLst>
            <pc:docMk/>
            <pc:sldMk cId="3632883391" sldId="296"/>
            <ac:spMk id="8" creationId="{27FAA813-E6DD-94B5-9EFA-E8D8C5AA136D}"/>
          </ac:spMkLst>
        </pc:spChg>
        <pc:spChg chg="add del mod modVis">
          <ac:chgData name="Patrick Alexander Franke" userId="423e9112-617d-4b87-a2e3-99cbfd97dbec" providerId="ADAL" clId="{76594E52-3920-453B-A9AF-B690723259B3}" dt="2022-07-11T13:14:25.739" v="5219"/>
          <ac:spMkLst>
            <pc:docMk/>
            <pc:sldMk cId="3632883391" sldId="296"/>
            <ac:spMk id="8" creationId="{A42574D4-31BE-4FF2-5002-64475880107D}"/>
          </ac:spMkLst>
        </pc:spChg>
        <pc:spChg chg="add del mod">
          <ac:chgData name="Patrick Alexander Franke" userId="423e9112-617d-4b87-a2e3-99cbfd97dbec" providerId="ADAL" clId="{76594E52-3920-453B-A9AF-B690723259B3}" dt="2022-07-11T12:30:02.278" v="2809" actId="478"/>
          <ac:spMkLst>
            <pc:docMk/>
            <pc:sldMk cId="3632883391" sldId="296"/>
            <ac:spMk id="9" creationId="{706E1CF3-8826-AFBB-8AF8-E0B332BD65EF}"/>
          </ac:spMkLst>
        </pc:spChg>
        <pc:spChg chg="add del mod">
          <ac:chgData name="Patrick Alexander Franke" userId="423e9112-617d-4b87-a2e3-99cbfd97dbec" providerId="ADAL" clId="{76594E52-3920-453B-A9AF-B690723259B3}" dt="2022-07-11T12:34:17.218" v="2915" actId="478"/>
          <ac:spMkLst>
            <pc:docMk/>
            <pc:sldMk cId="3632883391" sldId="296"/>
            <ac:spMk id="10" creationId="{BA720A4B-63BC-4C08-755E-33E0B39F83D2}"/>
          </ac:spMkLst>
        </pc:spChg>
        <pc:spChg chg="add del mod modVis">
          <ac:chgData name="Patrick Alexander Franke" userId="423e9112-617d-4b87-a2e3-99cbfd97dbec" providerId="ADAL" clId="{76594E52-3920-453B-A9AF-B690723259B3}" dt="2022-07-11T13:14:27.914" v="5270"/>
          <ac:spMkLst>
            <pc:docMk/>
            <pc:sldMk cId="3632883391" sldId="296"/>
            <ac:spMk id="11" creationId="{EAEAFEC6-D6E9-D143-D96C-90606D005AAF}"/>
          </ac:spMkLst>
        </pc:spChg>
        <pc:spChg chg="del">
          <ac:chgData name="Patrick Alexander Franke" userId="423e9112-617d-4b87-a2e3-99cbfd97dbec" providerId="ADAL" clId="{76594E52-3920-453B-A9AF-B690723259B3}" dt="2022-07-11T12:42:33.245" v="3293" actId="478"/>
          <ac:spMkLst>
            <pc:docMk/>
            <pc:sldMk cId="3632883391" sldId="296"/>
            <ac:spMk id="12" creationId="{FCCECF84-A2CB-2778-9E09-7D530E568229}"/>
          </ac:spMkLst>
        </pc:spChg>
        <pc:spChg chg="add del mod">
          <ac:chgData name="Patrick Alexander Franke" userId="423e9112-617d-4b87-a2e3-99cbfd97dbec" providerId="ADAL" clId="{76594E52-3920-453B-A9AF-B690723259B3}" dt="2022-07-11T12:38:34.780" v="3262" actId="478"/>
          <ac:spMkLst>
            <pc:docMk/>
            <pc:sldMk cId="3632883391" sldId="296"/>
            <ac:spMk id="13" creationId="{3472FDDD-5F51-D0F3-EE59-69520818CB8F}"/>
          </ac:spMkLst>
        </pc:spChg>
        <pc:spChg chg="add del mod modVis">
          <ac:chgData name="Patrick Alexander Franke" userId="423e9112-617d-4b87-a2e3-99cbfd97dbec" providerId="ADAL" clId="{76594E52-3920-453B-A9AF-B690723259B3}" dt="2022-07-11T13:14:28.513" v="5315"/>
          <ac:spMkLst>
            <pc:docMk/>
            <pc:sldMk cId="3632883391" sldId="296"/>
            <ac:spMk id="14" creationId="{56E8C8B0-ADAD-8494-20C4-0767C37D2E2C}"/>
          </ac:spMkLst>
        </pc:spChg>
        <pc:spChg chg="add del mod">
          <ac:chgData name="Patrick Alexander Franke" userId="423e9112-617d-4b87-a2e3-99cbfd97dbec" providerId="ADAL" clId="{76594E52-3920-453B-A9AF-B690723259B3}" dt="2022-07-13T22:34:53.309" v="6899" actId="20577"/>
          <ac:spMkLst>
            <pc:docMk/>
            <pc:sldMk cId="3632883391" sldId="296"/>
            <ac:spMk id="15" creationId="{253FA75F-C051-A02C-DD23-8EAA75E02D90}"/>
          </ac:spMkLst>
        </pc:spChg>
        <pc:spChg chg="add mod">
          <ac:chgData name="Patrick Alexander Franke" userId="423e9112-617d-4b87-a2e3-99cbfd97dbec" providerId="ADAL" clId="{76594E52-3920-453B-A9AF-B690723259B3}" dt="2022-07-11T13:12:46.208" v="4007" actId="571"/>
          <ac:spMkLst>
            <pc:docMk/>
            <pc:sldMk cId="3632883391" sldId="296"/>
            <ac:spMk id="16" creationId="{259137AE-C3A4-C38C-CB31-A94160CD27A2}"/>
          </ac:spMkLst>
        </pc:spChg>
        <pc:spChg chg="add del mod modVis">
          <ac:chgData name="Patrick Alexander Franke" userId="423e9112-617d-4b87-a2e3-99cbfd97dbec" providerId="ADAL" clId="{76594E52-3920-453B-A9AF-B690723259B3}" dt="2022-07-11T13:14:30.882" v="5367"/>
          <ac:spMkLst>
            <pc:docMk/>
            <pc:sldMk cId="3632883391" sldId="296"/>
            <ac:spMk id="17" creationId="{9A185442-8762-8F57-56F8-8697B8BEF5C8}"/>
          </ac:spMkLst>
        </pc:spChg>
        <pc:graphicFrameChg chg="mod">
          <ac:chgData name="Patrick Alexander Franke" userId="423e9112-617d-4b87-a2e3-99cbfd97dbec" providerId="ADAL" clId="{76594E52-3920-453B-A9AF-B690723259B3}" dt="2022-07-12T16:04:30.964" v="6437"/>
          <ac:graphicFrameMkLst>
            <pc:docMk/>
            <pc:sldMk cId="3632883391" sldId="296"/>
            <ac:graphicFrameMk id="5" creationId="{E9AD94C8-695B-14F9-3E9D-06B0907C5A8B}"/>
          </ac:graphicFrameMkLst>
        </pc:graphicFrameChg>
        <pc:picChg chg="del">
          <ac:chgData name="Patrick Alexander Franke" userId="423e9112-617d-4b87-a2e3-99cbfd97dbec" providerId="ADAL" clId="{76594E52-3920-453B-A9AF-B690723259B3}" dt="2022-07-11T12:28:17.954" v="2795" actId="478"/>
          <ac:picMkLst>
            <pc:docMk/>
            <pc:sldMk cId="3632883391" sldId="296"/>
            <ac:picMk id="20" creationId="{65A674C6-8680-649A-3AD3-DC03592A4C16}"/>
          </ac:picMkLst>
        </pc:picChg>
        <pc:picChg chg="del">
          <ac:chgData name="Patrick Alexander Franke" userId="423e9112-617d-4b87-a2e3-99cbfd97dbec" providerId="ADAL" clId="{76594E52-3920-453B-A9AF-B690723259B3}" dt="2022-07-11T12:28:17.954" v="2795" actId="478"/>
          <ac:picMkLst>
            <pc:docMk/>
            <pc:sldMk cId="3632883391" sldId="296"/>
            <ac:picMk id="22" creationId="{6C65AF54-D33A-95E0-533A-E2BA0E40C3E1}"/>
          </ac:picMkLst>
        </pc:picChg>
        <pc:picChg chg="add mod">
          <ac:chgData name="Patrick Alexander Franke" userId="423e9112-617d-4b87-a2e3-99cbfd97dbec" providerId="ADAL" clId="{76594E52-3920-453B-A9AF-B690723259B3}" dt="2022-07-13T22:36:32.746" v="6923" actId="1035"/>
          <ac:picMkLst>
            <pc:docMk/>
            <pc:sldMk cId="3632883391" sldId="296"/>
            <ac:picMk id="1026" creationId="{7B7A03A9-BF97-4458-BAF5-00BF016FC546}"/>
          </ac:picMkLst>
        </pc:picChg>
        <pc:picChg chg="add del mod">
          <ac:chgData name="Patrick Alexander Franke" userId="423e9112-617d-4b87-a2e3-99cbfd97dbec" providerId="ADAL" clId="{76594E52-3920-453B-A9AF-B690723259B3}" dt="2022-07-11T12:36:53.566" v="2927" actId="478"/>
          <ac:picMkLst>
            <pc:docMk/>
            <pc:sldMk cId="3632883391" sldId="296"/>
            <ac:picMk id="1028" creationId="{F19661C9-F020-B404-C336-296F4E7D616D}"/>
          </ac:picMkLst>
        </pc:picChg>
      </pc:sldChg>
      <pc:sldChg chg="modSp mod">
        <pc:chgData name="Patrick Alexander Franke" userId="423e9112-617d-4b87-a2e3-99cbfd97dbec" providerId="ADAL" clId="{76594E52-3920-453B-A9AF-B690723259B3}" dt="2022-07-13T22:01:07.652" v="6552" actId="20577"/>
        <pc:sldMkLst>
          <pc:docMk/>
          <pc:sldMk cId="3971449542" sldId="306"/>
        </pc:sldMkLst>
        <pc:spChg chg="mod">
          <ac:chgData name="Patrick Alexander Franke" userId="423e9112-617d-4b87-a2e3-99cbfd97dbec" providerId="ADAL" clId="{76594E52-3920-453B-A9AF-B690723259B3}" dt="2022-07-13T21:58:46.604" v="6480" actId="20577"/>
          <ac:spMkLst>
            <pc:docMk/>
            <pc:sldMk cId="3971449542" sldId="306"/>
            <ac:spMk id="28" creationId="{AD5041D3-9196-9BE9-087D-A0A6B06BA0A7}"/>
          </ac:spMkLst>
        </pc:spChg>
        <pc:spChg chg="mod">
          <ac:chgData name="Patrick Alexander Franke" userId="423e9112-617d-4b87-a2e3-99cbfd97dbec" providerId="ADAL" clId="{76594E52-3920-453B-A9AF-B690723259B3}" dt="2022-07-13T22:01:07.652" v="6552" actId="20577"/>
          <ac:spMkLst>
            <pc:docMk/>
            <pc:sldMk cId="3971449542" sldId="306"/>
            <ac:spMk id="43" creationId="{F9DB7D62-2DEE-44C3-EDDD-1D8D7E627E5C}"/>
          </ac:spMkLst>
        </pc:spChg>
      </pc:sldChg>
      <pc:sldChg chg="del">
        <pc:chgData name="Patrick Alexander Franke" userId="423e9112-617d-4b87-a2e3-99cbfd97dbec" providerId="ADAL" clId="{76594E52-3920-453B-A9AF-B690723259B3}" dt="2022-07-13T10:21:27.144" v="6477" actId="47"/>
        <pc:sldMkLst>
          <pc:docMk/>
          <pc:sldMk cId="251839845" sldId="309"/>
        </pc:sldMkLst>
      </pc:sldChg>
      <pc:sldChg chg="addSp modSp mod ord modAnim">
        <pc:chgData name="Patrick Alexander Franke" userId="423e9112-617d-4b87-a2e3-99cbfd97dbec" providerId="ADAL" clId="{76594E52-3920-453B-A9AF-B690723259B3}" dt="2022-07-13T22:43:20.133" v="6940" actId="1037"/>
        <pc:sldMkLst>
          <pc:docMk/>
          <pc:sldMk cId="4080963039" sldId="309"/>
        </pc:sldMkLst>
        <pc:spChg chg="add mod">
          <ac:chgData name="Patrick Alexander Franke" userId="423e9112-617d-4b87-a2e3-99cbfd97dbec" providerId="ADAL" clId="{76594E52-3920-453B-A9AF-B690723259B3}" dt="2022-07-13T22:43:20.133" v="6940" actId="1037"/>
          <ac:spMkLst>
            <pc:docMk/>
            <pc:sldMk cId="4080963039" sldId="309"/>
            <ac:spMk id="14" creationId="{71B5A230-B7A7-E521-E935-D4EC0FD41B84}"/>
          </ac:spMkLst>
        </pc:spChg>
        <pc:spChg chg="mod">
          <ac:chgData name="Patrick Alexander Franke" userId="423e9112-617d-4b87-a2e3-99cbfd97dbec" providerId="ADAL" clId="{76594E52-3920-453B-A9AF-B690723259B3}" dt="2022-07-13T22:20:37.264" v="6708" actId="20577"/>
          <ac:spMkLst>
            <pc:docMk/>
            <pc:sldMk cId="4080963039" sldId="309"/>
            <ac:spMk id="15" creationId="{253FA75F-C051-A02C-DD23-8EAA75E02D90}"/>
          </ac:spMkLst>
        </pc:spChg>
        <pc:spChg chg="add mod">
          <ac:chgData name="Patrick Alexander Franke" userId="423e9112-617d-4b87-a2e3-99cbfd97dbec" providerId="ADAL" clId="{76594E52-3920-453B-A9AF-B690723259B3}" dt="2022-07-13T22:21:12.003" v="6747" actId="1036"/>
          <ac:spMkLst>
            <pc:docMk/>
            <pc:sldMk cId="4080963039" sldId="309"/>
            <ac:spMk id="16" creationId="{E8A82186-C1B6-2F8A-DCA1-7BD2EBA829BA}"/>
          </ac:spMkLst>
        </pc:spChg>
        <pc:spChg chg="mod">
          <ac:chgData name="Patrick Alexander Franke" userId="423e9112-617d-4b87-a2e3-99cbfd97dbec" providerId="ADAL" clId="{76594E52-3920-453B-A9AF-B690723259B3}" dt="2022-07-13T22:23:13.892" v="6823" actId="164"/>
          <ac:spMkLst>
            <pc:docMk/>
            <pc:sldMk cId="4080963039" sldId="309"/>
            <ac:spMk id="18" creationId="{C8827AFA-0725-A17A-BD25-30EC048EFE15}"/>
          </ac:spMkLst>
        </pc:spChg>
        <pc:spChg chg="mod">
          <ac:chgData name="Patrick Alexander Franke" userId="423e9112-617d-4b87-a2e3-99cbfd97dbec" providerId="ADAL" clId="{76594E52-3920-453B-A9AF-B690723259B3}" dt="2022-07-13T22:23:13.892" v="6823" actId="164"/>
          <ac:spMkLst>
            <pc:docMk/>
            <pc:sldMk cId="4080963039" sldId="309"/>
            <ac:spMk id="19" creationId="{9A8F99F8-EBA2-CAA9-9CFA-4B1AAC8F3A24}"/>
          </ac:spMkLst>
        </pc:spChg>
        <pc:spChg chg="add mod">
          <ac:chgData name="Patrick Alexander Franke" userId="423e9112-617d-4b87-a2e3-99cbfd97dbec" providerId="ADAL" clId="{76594E52-3920-453B-A9AF-B690723259B3}" dt="2022-07-13T22:21:22.319" v="6767" actId="1035"/>
          <ac:spMkLst>
            <pc:docMk/>
            <pc:sldMk cId="4080963039" sldId="309"/>
            <ac:spMk id="20" creationId="{0B1B186A-1417-F05D-CB10-9561BBF671FA}"/>
          </ac:spMkLst>
        </pc:spChg>
        <pc:spChg chg="mod">
          <ac:chgData name="Patrick Alexander Franke" userId="423e9112-617d-4b87-a2e3-99cbfd97dbec" providerId="ADAL" clId="{76594E52-3920-453B-A9AF-B690723259B3}" dt="2022-07-13T22:23:13.892" v="6823" actId="164"/>
          <ac:spMkLst>
            <pc:docMk/>
            <pc:sldMk cId="4080963039" sldId="309"/>
            <ac:spMk id="21" creationId="{E5D44B55-CE36-7A63-5764-F7765D33A503}"/>
          </ac:spMkLst>
        </pc:spChg>
        <pc:spChg chg="add mod">
          <ac:chgData name="Patrick Alexander Franke" userId="423e9112-617d-4b87-a2e3-99cbfd97dbec" providerId="ADAL" clId="{76594E52-3920-453B-A9AF-B690723259B3}" dt="2022-07-13T22:21:36.295" v="6811" actId="1036"/>
          <ac:spMkLst>
            <pc:docMk/>
            <pc:sldMk cId="4080963039" sldId="309"/>
            <ac:spMk id="22" creationId="{900D94B6-7652-657B-D4CF-BCCE042AE7FD}"/>
          </ac:spMkLst>
        </pc:spChg>
        <pc:spChg chg="add mod">
          <ac:chgData name="Patrick Alexander Franke" userId="423e9112-617d-4b87-a2e3-99cbfd97dbec" providerId="ADAL" clId="{76594E52-3920-453B-A9AF-B690723259B3}" dt="2022-07-13T22:21:27.819" v="6789" actId="1037"/>
          <ac:spMkLst>
            <pc:docMk/>
            <pc:sldMk cId="4080963039" sldId="309"/>
            <ac:spMk id="23" creationId="{D706A660-92EA-5001-F1FB-FF660881A22F}"/>
          </ac:spMkLst>
        </pc:spChg>
        <pc:spChg chg="mod">
          <ac:chgData name="Patrick Alexander Franke" userId="423e9112-617d-4b87-a2e3-99cbfd97dbec" providerId="ADAL" clId="{76594E52-3920-453B-A9AF-B690723259B3}" dt="2022-07-13T22:23:13.892" v="6823" actId="164"/>
          <ac:spMkLst>
            <pc:docMk/>
            <pc:sldMk cId="4080963039" sldId="309"/>
            <ac:spMk id="29" creationId="{1C04DFD9-5A5B-403E-46DF-FE208E10615F}"/>
          </ac:spMkLst>
        </pc:spChg>
        <pc:grpChg chg="add mod">
          <ac:chgData name="Patrick Alexander Franke" userId="423e9112-617d-4b87-a2e3-99cbfd97dbec" providerId="ADAL" clId="{76594E52-3920-453B-A9AF-B690723259B3}" dt="2022-07-13T22:23:13.892" v="6823" actId="164"/>
          <ac:grpSpMkLst>
            <pc:docMk/>
            <pc:sldMk cId="4080963039" sldId="309"/>
            <ac:grpSpMk id="2" creationId="{80EB5681-12F9-6FF7-512F-9A60F7BDBC43}"/>
          </ac:grpSpMkLst>
        </pc:grpChg>
        <pc:picChg chg="mod">
          <ac:chgData name="Patrick Alexander Franke" userId="423e9112-617d-4b87-a2e3-99cbfd97dbec" providerId="ADAL" clId="{76594E52-3920-453B-A9AF-B690723259B3}" dt="2022-07-13T22:20:42.478" v="6709" actId="1076"/>
          <ac:picMkLst>
            <pc:docMk/>
            <pc:sldMk cId="4080963039" sldId="309"/>
            <ac:picMk id="3" creationId="{11E54E3B-C7F1-42C7-48A2-96AFA9C158A1}"/>
          </ac:picMkLst>
        </pc:picChg>
        <pc:picChg chg="mod">
          <ac:chgData name="Patrick Alexander Franke" userId="423e9112-617d-4b87-a2e3-99cbfd97dbec" providerId="ADAL" clId="{76594E52-3920-453B-A9AF-B690723259B3}" dt="2022-07-13T22:23:45.144" v="6834" actId="1076"/>
          <ac:picMkLst>
            <pc:docMk/>
            <pc:sldMk cId="4080963039" sldId="309"/>
            <ac:picMk id="7" creationId="{A12EBBF2-2CE6-667F-8CB8-9755BD3298DC}"/>
          </ac:picMkLst>
        </pc:picChg>
        <pc:picChg chg="mod">
          <ac:chgData name="Patrick Alexander Franke" userId="423e9112-617d-4b87-a2e3-99cbfd97dbec" providerId="ADAL" clId="{76594E52-3920-453B-A9AF-B690723259B3}" dt="2022-07-13T22:23:22.002" v="6830" actId="1036"/>
          <ac:picMkLst>
            <pc:docMk/>
            <pc:sldMk cId="4080963039" sldId="309"/>
            <ac:picMk id="13" creationId="{D9DFAB32-0A6B-61E4-6CB7-0D788DB8097D}"/>
          </ac:picMkLst>
        </pc:picChg>
      </pc:sldChg>
      <pc:sldChg chg="addSp delSp modSp add mod">
        <pc:chgData name="Patrick Alexander Franke" userId="423e9112-617d-4b87-a2e3-99cbfd97dbec" providerId="ADAL" clId="{76594E52-3920-453B-A9AF-B690723259B3}" dt="2022-07-13T22:42:43.519" v="6937" actId="1036"/>
        <pc:sldMkLst>
          <pc:docMk/>
          <pc:sldMk cId="3131932269" sldId="310"/>
        </pc:sldMkLst>
        <pc:spChg chg="del">
          <ac:chgData name="Patrick Alexander Franke" userId="423e9112-617d-4b87-a2e3-99cbfd97dbec" providerId="ADAL" clId="{76594E52-3920-453B-A9AF-B690723259B3}" dt="2022-07-13T22:01:50.529" v="6555" actId="478"/>
          <ac:spMkLst>
            <pc:docMk/>
            <pc:sldMk cId="3131932269" sldId="310"/>
            <ac:spMk id="2" creationId="{B6BDF923-F49E-7D11-A52B-6D1C3BE62CD2}"/>
          </ac:spMkLst>
        </pc:spChg>
        <pc:spChg chg="del">
          <ac:chgData name="Patrick Alexander Franke" userId="423e9112-617d-4b87-a2e3-99cbfd97dbec" providerId="ADAL" clId="{76594E52-3920-453B-A9AF-B690723259B3}" dt="2022-07-13T22:01:50.529" v="6555" actId="478"/>
          <ac:spMkLst>
            <pc:docMk/>
            <pc:sldMk cId="3131932269" sldId="310"/>
            <ac:spMk id="8" creationId="{57FC0C3A-359F-0C48-E36E-29273E1D996D}"/>
          </ac:spMkLst>
        </pc:spChg>
        <pc:spChg chg="add del mod">
          <ac:chgData name="Patrick Alexander Franke" userId="423e9112-617d-4b87-a2e3-99cbfd97dbec" providerId="ADAL" clId="{76594E52-3920-453B-A9AF-B690723259B3}" dt="2022-07-13T22:12:07.257" v="6621" actId="478"/>
          <ac:spMkLst>
            <pc:docMk/>
            <pc:sldMk cId="3131932269" sldId="310"/>
            <ac:spMk id="10" creationId="{B422EBE6-0171-1CD0-D885-3871F94909F5}"/>
          </ac:spMkLst>
        </pc:spChg>
        <pc:spChg chg="del">
          <ac:chgData name="Patrick Alexander Franke" userId="423e9112-617d-4b87-a2e3-99cbfd97dbec" providerId="ADAL" clId="{76594E52-3920-453B-A9AF-B690723259B3}" dt="2022-07-13T22:01:50.529" v="6555" actId="478"/>
          <ac:spMkLst>
            <pc:docMk/>
            <pc:sldMk cId="3131932269" sldId="310"/>
            <ac:spMk id="11" creationId="{BA1B6992-312C-F7E4-EF1C-17B48236AABA}"/>
          </ac:spMkLst>
        </pc:spChg>
        <pc:graphicFrameChg chg="add del mod modGraphic">
          <ac:chgData name="Patrick Alexander Franke" userId="423e9112-617d-4b87-a2e3-99cbfd97dbec" providerId="ADAL" clId="{76594E52-3920-453B-A9AF-B690723259B3}" dt="2022-07-13T22:02:37.399" v="6562"/>
          <ac:graphicFrameMkLst>
            <pc:docMk/>
            <pc:sldMk cId="3131932269" sldId="310"/>
            <ac:graphicFrameMk id="3" creationId="{38994D11-2115-D427-FD95-78E027EC91BC}"/>
          </ac:graphicFrameMkLst>
        </pc:graphicFrameChg>
        <pc:graphicFrameChg chg="add del mod modGraphic">
          <ac:chgData name="Patrick Alexander Franke" userId="423e9112-617d-4b87-a2e3-99cbfd97dbec" providerId="ADAL" clId="{76594E52-3920-453B-A9AF-B690723259B3}" dt="2022-07-13T22:12:03.616" v="6620" actId="478"/>
          <ac:graphicFrameMkLst>
            <pc:docMk/>
            <pc:sldMk cId="3131932269" sldId="310"/>
            <ac:graphicFrameMk id="4" creationId="{17FDDBA8-513B-EAF1-E55C-1700897BFD34}"/>
          </ac:graphicFrameMkLst>
        </pc:graphicFrameChg>
        <pc:graphicFrameChg chg="add del mod">
          <ac:chgData name="Patrick Alexander Franke" userId="423e9112-617d-4b87-a2e3-99cbfd97dbec" providerId="ADAL" clId="{76594E52-3920-453B-A9AF-B690723259B3}" dt="2022-07-13T22:12:35.419" v="6631" actId="478"/>
          <ac:graphicFrameMkLst>
            <pc:docMk/>
            <pc:sldMk cId="3131932269" sldId="310"/>
            <ac:graphicFrameMk id="5" creationId="{70A27413-5E44-F975-AB99-C7FDE23783EA}"/>
          </ac:graphicFrameMkLst>
        </pc:graphicFrameChg>
        <pc:graphicFrameChg chg="add del mod">
          <ac:chgData name="Patrick Alexander Franke" userId="423e9112-617d-4b87-a2e3-99cbfd97dbec" providerId="ADAL" clId="{76594E52-3920-453B-A9AF-B690723259B3}" dt="2022-07-13T22:12:33.571" v="6629"/>
          <ac:graphicFrameMkLst>
            <pc:docMk/>
            <pc:sldMk cId="3131932269" sldId="310"/>
            <ac:graphicFrameMk id="12" creationId="{1542E598-9B66-F12C-26D8-2EC8332BDFED}"/>
          </ac:graphicFrameMkLst>
        </pc:graphicFrameChg>
        <pc:graphicFrameChg chg="add del mod modGraphic">
          <ac:chgData name="Patrick Alexander Franke" userId="423e9112-617d-4b87-a2e3-99cbfd97dbec" providerId="ADAL" clId="{76594E52-3920-453B-A9AF-B690723259B3}" dt="2022-07-13T22:15:16.335" v="6651" actId="478"/>
          <ac:graphicFrameMkLst>
            <pc:docMk/>
            <pc:sldMk cId="3131932269" sldId="310"/>
            <ac:graphicFrameMk id="13" creationId="{62D21BE7-2047-2B3D-BEDF-D05D2DD2C4A3}"/>
          </ac:graphicFrameMkLst>
        </pc:graphicFrameChg>
        <pc:picChg chg="add del mod">
          <ac:chgData name="Patrick Alexander Franke" userId="423e9112-617d-4b87-a2e3-99cbfd97dbec" providerId="ADAL" clId="{76594E52-3920-453B-A9AF-B690723259B3}" dt="2022-07-13T22:15:35.940" v="6653" actId="478"/>
          <ac:picMkLst>
            <pc:docMk/>
            <pc:sldMk cId="3131932269" sldId="310"/>
            <ac:picMk id="15" creationId="{69AB7420-ED1C-D640-9248-9EE1C6B3BD8D}"/>
          </ac:picMkLst>
        </pc:picChg>
        <pc:picChg chg="add del mod">
          <ac:chgData name="Patrick Alexander Franke" userId="423e9112-617d-4b87-a2e3-99cbfd97dbec" providerId="ADAL" clId="{76594E52-3920-453B-A9AF-B690723259B3}" dt="2022-07-13T22:16:03.996" v="6673" actId="478"/>
          <ac:picMkLst>
            <pc:docMk/>
            <pc:sldMk cId="3131932269" sldId="310"/>
            <ac:picMk id="17" creationId="{8A012A9A-1BA4-75CB-1777-85B2012CE098}"/>
          </ac:picMkLst>
        </pc:picChg>
        <pc:picChg chg="add del mod">
          <ac:chgData name="Patrick Alexander Franke" userId="423e9112-617d-4b87-a2e3-99cbfd97dbec" providerId="ADAL" clId="{76594E52-3920-453B-A9AF-B690723259B3}" dt="2022-07-13T22:18:41.410" v="6679" actId="478"/>
          <ac:picMkLst>
            <pc:docMk/>
            <pc:sldMk cId="3131932269" sldId="310"/>
            <ac:picMk id="19" creationId="{AF5B17EE-7482-EA78-F01F-9FE74819D3D9}"/>
          </ac:picMkLst>
        </pc:picChg>
        <pc:picChg chg="add del mod">
          <ac:chgData name="Patrick Alexander Franke" userId="423e9112-617d-4b87-a2e3-99cbfd97dbec" providerId="ADAL" clId="{76594E52-3920-453B-A9AF-B690723259B3}" dt="2022-07-13T22:42:39.142" v="6924" actId="478"/>
          <ac:picMkLst>
            <pc:docMk/>
            <pc:sldMk cId="3131932269" sldId="310"/>
            <ac:picMk id="21" creationId="{FA5B48CF-2518-B6AC-464D-EC78195C5BAC}"/>
          </ac:picMkLst>
        </pc:picChg>
        <pc:picChg chg="add mod">
          <ac:chgData name="Patrick Alexander Franke" userId="423e9112-617d-4b87-a2e3-99cbfd97dbec" providerId="ADAL" clId="{76594E52-3920-453B-A9AF-B690723259B3}" dt="2022-07-13T22:42:43.519" v="6937" actId="1036"/>
          <ac:picMkLst>
            <pc:docMk/>
            <pc:sldMk cId="3131932269" sldId="310"/>
            <ac:picMk id="23" creationId="{FF2ACB89-DCFE-001F-2A1A-D5205EA10DFE}"/>
          </ac:picMkLst>
        </pc:picChg>
      </pc:sldChg>
      <pc:sldChg chg="addSp delSp modSp add mod ord">
        <pc:chgData name="Patrick Alexander Franke" userId="423e9112-617d-4b87-a2e3-99cbfd97dbec" providerId="ADAL" clId="{76594E52-3920-453B-A9AF-B690723259B3}" dt="2022-07-13T23:08:46.715" v="6974" actId="14100"/>
        <pc:sldMkLst>
          <pc:docMk/>
          <pc:sldMk cId="3619530598" sldId="311"/>
        </pc:sldMkLst>
        <pc:spChg chg="mod">
          <ac:chgData name="Patrick Alexander Franke" userId="423e9112-617d-4b87-a2e3-99cbfd97dbec" providerId="ADAL" clId="{76594E52-3920-453B-A9AF-B690723259B3}" dt="2022-07-13T23:08:46.715" v="6974" actId="14100"/>
          <ac:spMkLst>
            <pc:docMk/>
            <pc:sldMk cId="3619530598" sldId="311"/>
            <ac:spMk id="7" creationId="{92F35CC0-9B38-B738-FE0A-633EF22602F3}"/>
          </ac:spMkLst>
        </pc:spChg>
        <pc:spChg chg="add mod">
          <ac:chgData name="Patrick Alexander Franke" userId="423e9112-617d-4b87-a2e3-99cbfd97dbec" providerId="ADAL" clId="{76594E52-3920-453B-A9AF-B690723259B3}" dt="2022-07-13T22:34:03.032" v="6891" actId="20577"/>
          <ac:spMkLst>
            <pc:docMk/>
            <pc:sldMk cId="3619530598" sldId="311"/>
            <ac:spMk id="10" creationId="{A4F5B91F-5D2C-6FFB-248A-A0A62D9727AE}"/>
          </ac:spMkLst>
        </pc:spChg>
        <pc:picChg chg="add del mod">
          <ac:chgData name="Patrick Alexander Franke" userId="423e9112-617d-4b87-a2e3-99cbfd97dbec" providerId="ADAL" clId="{76594E52-3920-453B-A9AF-B690723259B3}" dt="2022-07-13T22:44:54.649" v="6941" actId="478"/>
          <ac:picMkLst>
            <pc:docMk/>
            <pc:sldMk cId="3619530598" sldId="311"/>
            <ac:picMk id="3" creationId="{B47E6FB6-0CB9-45CB-4DA4-A27C5E2C37D4}"/>
          </ac:picMkLst>
        </pc:picChg>
        <pc:picChg chg="add mod">
          <ac:chgData name="Patrick Alexander Franke" userId="423e9112-617d-4b87-a2e3-99cbfd97dbec" providerId="ADAL" clId="{76594E52-3920-453B-A9AF-B690723259B3}" dt="2022-07-13T22:45:00.589" v="6955"/>
          <ac:picMkLst>
            <pc:docMk/>
            <pc:sldMk cId="3619530598" sldId="311"/>
            <ac:picMk id="8" creationId="{95584F7A-4CAE-1F95-7A2A-36BFEB6D7B8C}"/>
          </ac:picMkLst>
        </pc:picChg>
        <pc:picChg chg="del">
          <ac:chgData name="Patrick Alexander Franke" userId="423e9112-617d-4b87-a2e3-99cbfd97dbec" providerId="ADAL" clId="{76594E52-3920-453B-A9AF-B690723259B3}" dt="2022-07-13T22:30:43.474" v="6843" actId="478"/>
          <ac:picMkLst>
            <pc:docMk/>
            <pc:sldMk cId="3619530598" sldId="311"/>
            <ac:picMk id="21" creationId="{FA5B48CF-2518-B6AC-464D-EC78195C5BAC}"/>
          </ac:picMkLst>
        </pc:picChg>
      </pc:sldChg>
      <pc:sldMasterChg chg="addSp delSp modSp mod">
        <pc:chgData name="Patrick Alexander Franke" userId="423e9112-617d-4b87-a2e3-99cbfd97dbec" providerId="ADAL" clId="{76594E52-3920-453B-A9AF-B690723259B3}" dt="2022-07-11T12:01:39.167" v="716"/>
        <pc:sldMasterMkLst>
          <pc:docMk/>
          <pc:sldMasterMk cId="1119611595" sldId="2147483648"/>
        </pc:sldMasterMkLst>
        <pc:spChg chg="mod">
          <ac:chgData name="Patrick Alexander Franke" userId="423e9112-617d-4b87-a2e3-99cbfd97dbec" providerId="ADAL" clId="{76594E52-3920-453B-A9AF-B690723259B3}" dt="2022-07-11T12:01:37.185" v="643" actId="948"/>
          <ac:spMkLst>
            <pc:docMk/>
            <pc:sldMasterMk cId="1119611595" sldId="2147483648"/>
            <ac:spMk id="2" creationId="{00000000-0000-0000-0000-000000000000}"/>
          </ac:spMkLst>
        </pc:spChg>
        <pc:spChg chg="add del mod modVis">
          <ac:chgData name="Patrick Alexander Franke" userId="423e9112-617d-4b87-a2e3-99cbfd97dbec" providerId="ADAL" clId="{76594E52-3920-453B-A9AF-B690723259B3}" dt="2022-07-11T12:01:38.519" v="700"/>
          <ac:spMkLst>
            <pc:docMk/>
            <pc:sldMasterMk cId="1119611595" sldId="2147483648"/>
            <ac:spMk id="4" creationId="{D29FBB2C-FB1E-E1EC-30F6-21C8A9AF898B}"/>
          </ac:spMkLst>
        </pc:spChg>
        <pc:graphicFrameChg chg="add mod ord modVis replST">
          <ac:chgData name="Patrick Alexander Franke" userId="423e9112-617d-4b87-a2e3-99cbfd97dbec" providerId="ADAL" clId="{76594E52-3920-453B-A9AF-B690723259B3}" dt="2022-07-11T12:01:39.167" v="716"/>
          <ac:graphicFrameMkLst>
            <pc:docMk/>
            <pc:sldMasterMk cId="1119611595" sldId="2147483648"/>
            <ac:graphicFrameMk id="5" creationId="{46C254FB-65B7-AAF7-71DD-9129C070844A}"/>
          </ac:graphicFrameMkLst>
        </pc:graphicFrameChg>
      </pc:sldMasterChg>
    </pc:docChg>
  </pc:docChgLst>
  <pc:docChgLst>
    <pc:chgData name="Massimo Alfonzo" userId="cef0ebbf-9067-4a40-8c82-7d97e03714d2" providerId="ADAL" clId="{CE2C85BF-A759-43FC-9E04-481E077E7D33}"/>
    <pc:docChg chg="undo custSel addSld delSld modSld sldOrd">
      <pc:chgData name="Massimo Alfonzo" userId="cef0ebbf-9067-4a40-8c82-7d97e03714d2" providerId="ADAL" clId="{CE2C85BF-A759-43FC-9E04-481E077E7D33}" dt="2022-07-13T10:47:11.554" v="4921"/>
      <pc:docMkLst>
        <pc:docMk/>
      </pc:docMkLst>
      <pc:sldChg chg="modSp mod">
        <pc:chgData name="Massimo Alfonzo" userId="cef0ebbf-9067-4a40-8c82-7d97e03714d2" providerId="ADAL" clId="{CE2C85BF-A759-43FC-9E04-481E077E7D33}" dt="2022-07-11T00:02:24.275" v="653" actId="20577"/>
        <pc:sldMkLst>
          <pc:docMk/>
          <pc:sldMk cId="3383649683" sldId="258"/>
        </pc:sldMkLst>
        <pc:spChg chg="mod">
          <ac:chgData name="Massimo Alfonzo" userId="cef0ebbf-9067-4a40-8c82-7d97e03714d2" providerId="ADAL" clId="{CE2C85BF-A759-43FC-9E04-481E077E7D33}" dt="2022-07-11T00:02:24.275" v="653" actId="20577"/>
          <ac:spMkLst>
            <pc:docMk/>
            <pc:sldMk cId="3383649683" sldId="258"/>
            <ac:spMk id="4" creationId="{F5DB627B-A258-4CB9-9807-FE1A7AB8CC4C}"/>
          </ac:spMkLst>
        </pc:spChg>
      </pc:sldChg>
      <pc:sldChg chg="modNotesTx">
        <pc:chgData name="Massimo Alfonzo" userId="cef0ebbf-9067-4a40-8c82-7d97e03714d2" providerId="ADAL" clId="{CE2C85BF-A759-43FC-9E04-481E077E7D33}" dt="2022-07-13T09:56:22.180" v="4802" actId="6549"/>
        <pc:sldMkLst>
          <pc:docMk/>
          <pc:sldMk cId="1386269732" sldId="259"/>
        </pc:sldMkLst>
      </pc:sldChg>
      <pc:sldChg chg="modSp mod">
        <pc:chgData name="Massimo Alfonzo" userId="cef0ebbf-9067-4a40-8c82-7d97e03714d2" providerId="ADAL" clId="{CE2C85BF-A759-43FC-9E04-481E077E7D33}" dt="2022-07-13T10:24:51.240" v="4826" actId="14100"/>
        <pc:sldMkLst>
          <pc:docMk/>
          <pc:sldMk cId="3922913386" sldId="262"/>
        </pc:sldMkLst>
        <pc:spChg chg="mod">
          <ac:chgData name="Massimo Alfonzo" userId="cef0ebbf-9067-4a40-8c82-7d97e03714d2" providerId="ADAL" clId="{CE2C85BF-A759-43FC-9E04-481E077E7D33}" dt="2022-07-13T10:24:51.240" v="4826" actId="14100"/>
          <ac:spMkLst>
            <pc:docMk/>
            <pc:sldMk cId="3922913386" sldId="262"/>
            <ac:spMk id="2" creationId="{C6785AE7-8B00-486C-9A8C-F571C93177E4}"/>
          </ac:spMkLst>
        </pc:spChg>
      </pc:sldChg>
      <pc:sldChg chg="modSp mod">
        <pc:chgData name="Massimo Alfonzo" userId="cef0ebbf-9067-4a40-8c82-7d97e03714d2" providerId="ADAL" clId="{CE2C85BF-A759-43FC-9E04-481E077E7D33}" dt="2022-07-11T00:14:06.461" v="1125" actId="113"/>
        <pc:sldMkLst>
          <pc:docMk/>
          <pc:sldMk cId="3791195039" sldId="263"/>
        </pc:sldMkLst>
        <pc:spChg chg="mod">
          <ac:chgData name="Massimo Alfonzo" userId="cef0ebbf-9067-4a40-8c82-7d97e03714d2" providerId="ADAL" clId="{CE2C85BF-A759-43FC-9E04-481E077E7D33}" dt="2022-07-11T00:14:06.461" v="1125" actId="113"/>
          <ac:spMkLst>
            <pc:docMk/>
            <pc:sldMk cId="3791195039" sldId="263"/>
            <ac:spMk id="6" creationId="{9AF89EE5-5EE0-794D-3F59-78AB800D9819}"/>
          </ac:spMkLst>
        </pc:spChg>
      </pc:sldChg>
      <pc:sldChg chg="modSp mod ord">
        <pc:chgData name="Massimo Alfonzo" userId="cef0ebbf-9067-4a40-8c82-7d97e03714d2" providerId="ADAL" clId="{CE2C85BF-A759-43FC-9E04-481E077E7D33}" dt="2022-07-11T00:14:38.725" v="1169" actId="1038"/>
        <pc:sldMkLst>
          <pc:docMk/>
          <pc:sldMk cId="1320313918" sldId="265"/>
        </pc:sldMkLst>
        <pc:spChg chg="mod">
          <ac:chgData name="Massimo Alfonzo" userId="cef0ebbf-9067-4a40-8c82-7d97e03714d2" providerId="ADAL" clId="{CE2C85BF-A759-43FC-9E04-481E077E7D33}" dt="2022-07-11T00:14:31.424" v="1142" actId="20577"/>
          <ac:spMkLst>
            <pc:docMk/>
            <pc:sldMk cId="1320313918" sldId="265"/>
            <ac:spMk id="11" creationId="{BA1B6992-312C-F7E4-EF1C-17B48236AABA}"/>
          </ac:spMkLst>
        </pc:spChg>
        <pc:picChg chg="mod">
          <ac:chgData name="Massimo Alfonzo" userId="cef0ebbf-9067-4a40-8c82-7d97e03714d2" providerId="ADAL" clId="{CE2C85BF-A759-43FC-9E04-481E077E7D33}" dt="2022-07-11T00:14:38.725" v="1169" actId="1038"/>
          <ac:picMkLst>
            <pc:docMk/>
            <pc:sldMk cId="1320313918" sldId="265"/>
            <ac:picMk id="7" creationId="{9C4D0B2D-CE43-6508-9F80-A804F6991A04}"/>
          </ac:picMkLst>
        </pc:picChg>
      </pc:sldChg>
      <pc:sldChg chg="addSp delSp modSp mod ord">
        <pc:chgData name="Massimo Alfonzo" userId="cef0ebbf-9067-4a40-8c82-7d97e03714d2" providerId="ADAL" clId="{CE2C85BF-A759-43FC-9E04-481E077E7D33}" dt="2022-07-12T19:34:39.997" v="4764"/>
        <pc:sldMkLst>
          <pc:docMk/>
          <pc:sldMk cId="819387463" sldId="272"/>
        </pc:sldMkLst>
        <pc:spChg chg="mod">
          <ac:chgData name="Massimo Alfonzo" userId="cef0ebbf-9067-4a40-8c82-7d97e03714d2" providerId="ADAL" clId="{CE2C85BF-A759-43FC-9E04-481E077E7D33}" dt="2022-07-11T00:13:51.054" v="1123" actId="20577"/>
          <ac:spMkLst>
            <pc:docMk/>
            <pc:sldMk cId="819387463" sldId="272"/>
            <ac:spMk id="2" creationId="{00000000-0000-0000-0000-000000000000}"/>
          </ac:spMkLst>
        </pc:spChg>
        <pc:picChg chg="add del mod">
          <ac:chgData name="Massimo Alfonzo" userId="cef0ebbf-9067-4a40-8c82-7d97e03714d2" providerId="ADAL" clId="{CE2C85BF-A759-43FC-9E04-481E077E7D33}" dt="2022-07-11T12:36:25.100" v="1756"/>
          <ac:picMkLst>
            <pc:docMk/>
            <pc:sldMk cId="819387463" sldId="272"/>
            <ac:picMk id="8" creationId="{B16FCCD3-5650-8799-2D60-4ABB43F275EB}"/>
          </ac:picMkLst>
        </pc:picChg>
        <pc:picChg chg="add del mod">
          <ac:chgData name="Massimo Alfonzo" userId="cef0ebbf-9067-4a40-8c82-7d97e03714d2" providerId="ADAL" clId="{CE2C85BF-A759-43FC-9E04-481E077E7D33}" dt="2022-07-11T12:36:23.658" v="1753"/>
          <ac:picMkLst>
            <pc:docMk/>
            <pc:sldMk cId="819387463" sldId="272"/>
            <ac:picMk id="9" creationId="{50AE6AA2-D7A1-1BCD-0C38-6100FDDA0A8A}"/>
          </ac:picMkLst>
        </pc:picChg>
        <pc:picChg chg="add del mod">
          <ac:chgData name="Massimo Alfonzo" userId="cef0ebbf-9067-4a40-8c82-7d97e03714d2" providerId="ADAL" clId="{CE2C85BF-A759-43FC-9E04-481E077E7D33}" dt="2022-07-11T12:36:22.199" v="1749"/>
          <ac:picMkLst>
            <pc:docMk/>
            <pc:sldMk cId="819387463" sldId="272"/>
            <ac:picMk id="10" creationId="{A24D0CAE-2A6B-FEAC-18D2-3323A5611E81}"/>
          </ac:picMkLst>
        </pc:picChg>
        <pc:picChg chg="mod">
          <ac:chgData name="Massimo Alfonzo" userId="cef0ebbf-9067-4a40-8c82-7d97e03714d2" providerId="ADAL" clId="{CE2C85BF-A759-43FC-9E04-481E077E7D33}" dt="2022-07-11T12:36:48.434" v="1758" actId="1076"/>
          <ac:picMkLst>
            <pc:docMk/>
            <pc:sldMk cId="819387463" sldId="272"/>
            <ac:picMk id="47" creationId="{9A545285-6B83-ACFD-8375-BEB80C5F8C35}"/>
          </ac:picMkLst>
        </pc:picChg>
      </pc:sldChg>
      <pc:sldChg chg="modSp mod ord">
        <pc:chgData name="Massimo Alfonzo" userId="cef0ebbf-9067-4a40-8c82-7d97e03714d2" providerId="ADAL" clId="{CE2C85BF-A759-43FC-9E04-481E077E7D33}" dt="2022-07-12T19:34:39.997" v="4764"/>
        <pc:sldMkLst>
          <pc:docMk/>
          <pc:sldMk cId="3608260996" sldId="275"/>
        </pc:sldMkLst>
        <pc:picChg chg="mod">
          <ac:chgData name="Massimo Alfonzo" userId="cef0ebbf-9067-4a40-8c82-7d97e03714d2" providerId="ADAL" clId="{CE2C85BF-A759-43FC-9E04-481E077E7D33}" dt="2022-07-11T12:35:20.794" v="1730" actId="1076"/>
          <ac:picMkLst>
            <pc:docMk/>
            <pc:sldMk cId="3608260996" sldId="275"/>
            <ac:picMk id="6" creationId="{B1092640-08C0-06CD-83E5-16750F36823B}"/>
          </ac:picMkLst>
        </pc:picChg>
        <pc:picChg chg="mod">
          <ac:chgData name="Massimo Alfonzo" userId="cef0ebbf-9067-4a40-8c82-7d97e03714d2" providerId="ADAL" clId="{CE2C85BF-A759-43FC-9E04-481E077E7D33}" dt="2022-07-11T12:35:24.647" v="1732" actId="1076"/>
          <ac:picMkLst>
            <pc:docMk/>
            <pc:sldMk cId="3608260996" sldId="275"/>
            <ac:picMk id="11" creationId="{D753BA54-1E04-DEBA-CF50-82F36E4373FD}"/>
          </ac:picMkLst>
        </pc:picChg>
      </pc:sldChg>
      <pc:sldChg chg="ord">
        <pc:chgData name="Massimo Alfonzo" userId="cef0ebbf-9067-4a40-8c82-7d97e03714d2" providerId="ADAL" clId="{CE2C85BF-A759-43FC-9E04-481E077E7D33}" dt="2022-07-10T23:49:50.437" v="1"/>
        <pc:sldMkLst>
          <pc:docMk/>
          <pc:sldMk cId="3279857982" sldId="282"/>
        </pc:sldMkLst>
      </pc:sldChg>
      <pc:sldChg chg="addSp delSp modSp mod">
        <pc:chgData name="Massimo Alfonzo" userId="cef0ebbf-9067-4a40-8c82-7d97e03714d2" providerId="ADAL" clId="{CE2C85BF-A759-43FC-9E04-481E077E7D33}" dt="2022-07-11T00:15:12.867" v="1186" actId="1037"/>
        <pc:sldMkLst>
          <pc:docMk/>
          <pc:sldMk cId="4066729470" sldId="283"/>
        </pc:sldMkLst>
        <pc:spChg chg="mod">
          <ac:chgData name="Massimo Alfonzo" userId="cef0ebbf-9067-4a40-8c82-7d97e03714d2" providerId="ADAL" clId="{CE2C85BF-A759-43FC-9E04-481E077E7D33}" dt="2022-07-11T00:13:15.949" v="1084" actId="20577"/>
          <ac:spMkLst>
            <pc:docMk/>
            <pc:sldMk cId="4066729470" sldId="283"/>
            <ac:spMk id="2" creationId="{C6785AE7-8B00-486C-9A8C-F571C93177E4}"/>
          </ac:spMkLst>
        </pc:spChg>
        <pc:spChg chg="mod">
          <ac:chgData name="Massimo Alfonzo" userId="cef0ebbf-9067-4a40-8c82-7d97e03714d2" providerId="ADAL" clId="{CE2C85BF-A759-43FC-9E04-481E077E7D33}" dt="2022-07-11T00:03:16.247" v="679" actId="1076"/>
          <ac:spMkLst>
            <pc:docMk/>
            <pc:sldMk cId="4066729470" sldId="283"/>
            <ac:spMk id="7" creationId="{1A052AF4-2249-AA6B-339E-4D1E800B6C17}"/>
          </ac:spMkLst>
        </pc:spChg>
        <pc:spChg chg="mod">
          <ac:chgData name="Massimo Alfonzo" userId="cef0ebbf-9067-4a40-8c82-7d97e03714d2" providerId="ADAL" clId="{CE2C85BF-A759-43FC-9E04-481E077E7D33}" dt="2022-07-11T00:10:45.617" v="971" actId="1076"/>
          <ac:spMkLst>
            <pc:docMk/>
            <pc:sldMk cId="4066729470" sldId="283"/>
            <ac:spMk id="11" creationId="{572A1C24-A59C-01EB-236A-E359A3709B61}"/>
          </ac:spMkLst>
        </pc:spChg>
        <pc:spChg chg="mod">
          <ac:chgData name="Massimo Alfonzo" userId="cef0ebbf-9067-4a40-8c82-7d97e03714d2" providerId="ADAL" clId="{CE2C85BF-A759-43FC-9E04-481E077E7D33}" dt="2022-07-11T00:10:54.865" v="982" actId="1037"/>
          <ac:spMkLst>
            <pc:docMk/>
            <pc:sldMk cId="4066729470" sldId="283"/>
            <ac:spMk id="13" creationId="{79C66760-8A7A-5D16-838D-30CDD953C05D}"/>
          </ac:spMkLst>
        </pc:spChg>
        <pc:spChg chg="mod">
          <ac:chgData name="Massimo Alfonzo" userId="cef0ebbf-9067-4a40-8c82-7d97e03714d2" providerId="ADAL" clId="{CE2C85BF-A759-43FC-9E04-481E077E7D33}" dt="2022-07-11T00:10:49.166" v="972" actId="1076"/>
          <ac:spMkLst>
            <pc:docMk/>
            <pc:sldMk cId="4066729470" sldId="283"/>
            <ac:spMk id="19" creationId="{1D1F006E-8870-BF28-070B-CCCE76BA3CF5}"/>
          </ac:spMkLst>
        </pc:spChg>
        <pc:spChg chg="mod">
          <ac:chgData name="Massimo Alfonzo" userId="cef0ebbf-9067-4a40-8c82-7d97e03714d2" providerId="ADAL" clId="{CE2C85BF-A759-43FC-9E04-481E077E7D33}" dt="2022-07-11T00:10:57.888" v="983" actId="1076"/>
          <ac:spMkLst>
            <pc:docMk/>
            <pc:sldMk cId="4066729470" sldId="283"/>
            <ac:spMk id="20" creationId="{0305FA13-8D5F-1202-F3F8-2D0524CE6DA9}"/>
          </ac:spMkLst>
        </pc:spChg>
        <pc:spChg chg="mod">
          <ac:chgData name="Massimo Alfonzo" userId="cef0ebbf-9067-4a40-8c82-7d97e03714d2" providerId="ADAL" clId="{CE2C85BF-A759-43FC-9E04-481E077E7D33}" dt="2022-07-11T00:12:01.799" v="1024" actId="1038"/>
          <ac:spMkLst>
            <pc:docMk/>
            <pc:sldMk cId="4066729470" sldId="283"/>
            <ac:spMk id="21" creationId="{883237DD-4799-A998-6499-67C577031C08}"/>
          </ac:spMkLst>
        </pc:spChg>
        <pc:spChg chg="mod">
          <ac:chgData name="Massimo Alfonzo" userId="cef0ebbf-9067-4a40-8c82-7d97e03714d2" providerId="ADAL" clId="{CE2C85BF-A759-43FC-9E04-481E077E7D33}" dt="2022-07-11T00:11:08.911" v="989" actId="1037"/>
          <ac:spMkLst>
            <pc:docMk/>
            <pc:sldMk cId="4066729470" sldId="283"/>
            <ac:spMk id="23" creationId="{88299878-D9BE-C334-3EC6-62D94444214A}"/>
          </ac:spMkLst>
        </pc:spChg>
        <pc:spChg chg="mod">
          <ac:chgData name="Massimo Alfonzo" userId="cef0ebbf-9067-4a40-8c82-7d97e03714d2" providerId="ADAL" clId="{CE2C85BF-A759-43FC-9E04-481E077E7D33}" dt="2022-07-11T00:12:03.726" v="1027" actId="1036"/>
          <ac:spMkLst>
            <pc:docMk/>
            <pc:sldMk cId="4066729470" sldId="283"/>
            <ac:spMk id="24" creationId="{70F8EC87-42AA-83EA-8850-BA7AEC6377E0}"/>
          </ac:spMkLst>
        </pc:spChg>
        <pc:spChg chg="mod">
          <ac:chgData name="Massimo Alfonzo" userId="cef0ebbf-9067-4a40-8c82-7d97e03714d2" providerId="ADAL" clId="{CE2C85BF-A759-43FC-9E04-481E077E7D33}" dt="2022-07-11T00:11:51.809" v="1021" actId="1037"/>
          <ac:spMkLst>
            <pc:docMk/>
            <pc:sldMk cId="4066729470" sldId="283"/>
            <ac:spMk id="26" creationId="{BD2918BB-EE1E-9246-F283-483A6B16F886}"/>
          </ac:spMkLst>
        </pc:spChg>
        <pc:spChg chg="mod">
          <ac:chgData name="Massimo Alfonzo" userId="cef0ebbf-9067-4a40-8c82-7d97e03714d2" providerId="ADAL" clId="{CE2C85BF-A759-43FC-9E04-481E077E7D33}" dt="2022-07-11T00:11:37.957" v="1011" actId="1038"/>
          <ac:spMkLst>
            <pc:docMk/>
            <pc:sldMk cId="4066729470" sldId="283"/>
            <ac:spMk id="27" creationId="{59E4EC72-373D-EE0A-AFE7-108ADD6F16B0}"/>
          </ac:spMkLst>
        </pc:spChg>
        <pc:spChg chg="mod">
          <ac:chgData name="Massimo Alfonzo" userId="cef0ebbf-9067-4a40-8c82-7d97e03714d2" providerId="ADAL" clId="{CE2C85BF-A759-43FC-9E04-481E077E7D33}" dt="2022-07-11T00:11:34.451" v="1001" actId="1076"/>
          <ac:spMkLst>
            <pc:docMk/>
            <pc:sldMk cId="4066729470" sldId="283"/>
            <ac:spMk id="29" creationId="{751362AF-9A53-EA02-77ED-1180B6D3CA2F}"/>
          </ac:spMkLst>
        </pc:spChg>
        <pc:spChg chg="mod">
          <ac:chgData name="Massimo Alfonzo" userId="cef0ebbf-9067-4a40-8c82-7d97e03714d2" providerId="ADAL" clId="{CE2C85BF-A759-43FC-9E04-481E077E7D33}" dt="2022-07-11T00:04:51.002" v="696" actId="1076"/>
          <ac:spMkLst>
            <pc:docMk/>
            <pc:sldMk cId="4066729470" sldId="283"/>
            <ac:spMk id="30" creationId="{D6F17EF1-DC9D-3A73-9596-F6A0B6D1E891}"/>
          </ac:spMkLst>
        </pc:spChg>
        <pc:spChg chg="mod">
          <ac:chgData name="Massimo Alfonzo" userId="cef0ebbf-9067-4a40-8c82-7d97e03714d2" providerId="ADAL" clId="{CE2C85BF-A759-43FC-9E04-481E077E7D33}" dt="2022-07-11T00:05:48.221" v="707" actId="113"/>
          <ac:spMkLst>
            <pc:docMk/>
            <pc:sldMk cId="4066729470" sldId="283"/>
            <ac:spMk id="32" creationId="{01D2EAC2-CED3-69BC-0D8F-ABF85E9F9B29}"/>
          </ac:spMkLst>
        </pc:spChg>
        <pc:spChg chg="mod">
          <ac:chgData name="Massimo Alfonzo" userId="cef0ebbf-9067-4a40-8c82-7d97e03714d2" providerId="ADAL" clId="{CE2C85BF-A759-43FC-9E04-481E077E7D33}" dt="2022-07-11T00:05:13.629" v="700" actId="1076"/>
          <ac:spMkLst>
            <pc:docMk/>
            <pc:sldMk cId="4066729470" sldId="283"/>
            <ac:spMk id="33" creationId="{F1991DD2-A58C-C4AE-818E-D42ED10D30A9}"/>
          </ac:spMkLst>
        </pc:spChg>
        <pc:spChg chg="mod">
          <ac:chgData name="Massimo Alfonzo" userId="cef0ebbf-9067-4a40-8c82-7d97e03714d2" providerId="ADAL" clId="{CE2C85BF-A759-43FC-9E04-481E077E7D33}" dt="2022-07-11T00:05:28.667" v="703" actId="113"/>
          <ac:spMkLst>
            <pc:docMk/>
            <pc:sldMk cId="4066729470" sldId="283"/>
            <ac:spMk id="35" creationId="{DDC02FD0-1627-290C-26A3-DD2261F70ACB}"/>
          </ac:spMkLst>
        </pc:spChg>
        <pc:spChg chg="mod">
          <ac:chgData name="Massimo Alfonzo" userId="cef0ebbf-9067-4a40-8c82-7d97e03714d2" providerId="ADAL" clId="{CE2C85BF-A759-43FC-9E04-481E077E7D33}" dt="2022-07-11T00:06:00.483" v="709" actId="1076"/>
          <ac:spMkLst>
            <pc:docMk/>
            <pc:sldMk cId="4066729470" sldId="283"/>
            <ac:spMk id="36" creationId="{091BE735-6BFB-65F0-4CD8-83C4247D0567}"/>
          </ac:spMkLst>
        </pc:spChg>
        <pc:spChg chg="mod">
          <ac:chgData name="Massimo Alfonzo" userId="cef0ebbf-9067-4a40-8c82-7d97e03714d2" providerId="ADAL" clId="{CE2C85BF-A759-43FC-9E04-481E077E7D33}" dt="2022-07-11T00:06:09.750" v="712" actId="1076"/>
          <ac:spMkLst>
            <pc:docMk/>
            <pc:sldMk cId="4066729470" sldId="283"/>
            <ac:spMk id="38" creationId="{5BE93A0E-106C-A1B6-5736-B5CDF7DEA526}"/>
          </ac:spMkLst>
        </pc:spChg>
        <pc:spChg chg="mod">
          <ac:chgData name="Massimo Alfonzo" userId="cef0ebbf-9067-4a40-8c82-7d97e03714d2" providerId="ADAL" clId="{CE2C85BF-A759-43FC-9E04-481E077E7D33}" dt="2022-07-11T00:06:17.358" v="713" actId="1076"/>
          <ac:spMkLst>
            <pc:docMk/>
            <pc:sldMk cId="4066729470" sldId="283"/>
            <ac:spMk id="39" creationId="{DE610369-6CB3-8E28-06D0-ACC9FF84BDEE}"/>
          </ac:spMkLst>
        </pc:spChg>
        <pc:spChg chg="mod">
          <ac:chgData name="Massimo Alfonzo" userId="cef0ebbf-9067-4a40-8c82-7d97e03714d2" providerId="ADAL" clId="{CE2C85BF-A759-43FC-9E04-481E077E7D33}" dt="2022-07-11T00:12:30.318" v="1028" actId="20577"/>
          <ac:spMkLst>
            <pc:docMk/>
            <pc:sldMk cId="4066729470" sldId="283"/>
            <ac:spMk id="41" creationId="{D62029FD-9F86-CE19-A4CF-EBCF1583DBFE}"/>
          </ac:spMkLst>
        </pc:spChg>
        <pc:spChg chg="del mod">
          <ac:chgData name="Massimo Alfonzo" userId="cef0ebbf-9067-4a40-8c82-7d97e03714d2" providerId="ADAL" clId="{CE2C85BF-A759-43FC-9E04-481E077E7D33}" dt="2022-07-11T00:06:40.943" v="735"/>
          <ac:spMkLst>
            <pc:docMk/>
            <pc:sldMk cId="4066729470" sldId="283"/>
            <ac:spMk id="42" creationId="{D64C9576-797B-B53F-37ED-D555FC391050}"/>
          </ac:spMkLst>
        </pc:spChg>
        <pc:spChg chg="add del mod">
          <ac:chgData name="Massimo Alfonzo" userId="cef0ebbf-9067-4a40-8c82-7d97e03714d2" providerId="ADAL" clId="{CE2C85BF-A759-43FC-9E04-481E077E7D33}" dt="2022-07-11T00:02:47.940" v="671"/>
          <ac:spMkLst>
            <pc:docMk/>
            <pc:sldMk cId="4066729470" sldId="283"/>
            <ac:spMk id="43" creationId="{3F6C24B0-3177-B87F-5F1F-A36F3DB3389D}"/>
          </ac:spMkLst>
        </pc:spChg>
        <pc:spChg chg="add del mod">
          <ac:chgData name="Massimo Alfonzo" userId="cef0ebbf-9067-4a40-8c82-7d97e03714d2" providerId="ADAL" clId="{CE2C85BF-A759-43FC-9E04-481E077E7D33}" dt="2022-07-11T00:02:47.940" v="671"/>
          <ac:spMkLst>
            <pc:docMk/>
            <pc:sldMk cId="4066729470" sldId="283"/>
            <ac:spMk id="45" creationId="{10452E47-6962-598E-339C-03B64B459F9C}"/>
          </ac:spMkLst>
        </pc:spChg>
        <pc:spChg chg="add mod">
          <ac:chgData name="Massimo Alfonzo" userId="cef0ebbf-9067-4a40-8c82-7d97e03714d2" providerId="ADAL" clId="{CE2C85BF-A759-43FC-9E04-481E077E7D33}" dt="2022-07-11T00:07:05.989" v="744" actId="1076"/>
          <ac:spMkLst>
            <pc:docMk/>
            <pc:sldMk cId="4066729470" sldId="283"/>
            <ac:spMk id="46" creationId="{F376F75B-3B4E-72DD-02A9-B1E398F1ED99}"/>
          </ac:spMkLst>
        </pc:spChg>
        <pc:spChg chg="add mod">
          <ac:chgData name="Massimo Alfonzo" userId="cef0ebbf-9067-4a40-8c82-7d97e03714d2" providerId="ADAL" clId="{CE2C85BF-A759-43FC-9E04-481E077E7D33}" dt="2022-07-11T00:15:12.867" v="1186" actId="1037"/>
          <ac:spMkLst>
            <pc:docMk/>
            <pc:sldMk cId="4066729470" sldId="283"/>
            <ac:spMk id="48" creationId="{043E0EA6-C53E-A572-1A42-43851A2D629D}"/>
          </ac:spMkLst>
        </pc:spChg>
        <pc:spChg chg="add mod">
          <ac:chgData name="Massimo Alfonzo" userId="cef0ebbf-9067-4a40-8c82-7d97e03714d2" providerId="ADAL" clId="{CE2C85BF-A759-43FC-9E04-481E077E7D33}" dt="2022-07-11T00:08:25.522" v="829" actId="1076"/>
          <ac:spMkLst>
            <pc:docMk/>
            <pc:sldMk cId="4066729470" sldId="283"/>
            <ac:spMk id="49" creationId="{5059012C-FDBD-AD5B-AAF0-A562DFD5684A}"/>
          </ac:spMkLst>
        </pc:spChg>
        <pc:spChg chg="add mod">
          <ac:chgData name="Massimo Alfonzo" userId="cef0ebbf-9067-4a40-8c82-7d97e03714d2" providerId="ADAL" clId="{CE2C85BF-A759-43FC-9E04-481E077E7D33}" dt="2022-07-11T00:13:06.674" v="1082" actId="1037"/>
          <ac:spMkLst>
            <pc:docMk/>
            <pc:sldMk cId="4066729470" sldId="283"/>
            <ac:spMk id="51" creationId="{63B1FFA0-BDA8-264B-23AA-AF9EA1869191}"/>
          </ac:spMkLst>
        </pc:spChg>
        <pc:spChg chg="add mod">
          <ac:chgData name="Massimo Alfonzo" userId="cef0ebbf-9067-4a40-8c82-7d97e03714d2" providerId="ADAL" clId="{CE2C85BF-A759-43FC-9E04-481E077E7D33}" dt="2022-07-11T00:09:57.610" v="935" actId="1076"/>
          <ac:spMkLst>
            <pc:docMk/>
            <pc:sldMk cId="4066729470" sldId="283"/>
            <ac:spMk id="53" creationId="{1D78BE12-69EC-055B-F394-AEE11868150F}"/>
          </ac:spMkLst>
        </pc:spChg>
        <pc:spChg chg="add mod">
          <ac:chgData name="Massimo Alfonzo" userId="cef0ebbf-9067-4a40-8c82-7d97e03714d2" providerId="ADAL" clId="{CE2C85BF-A759-43FC-9E04-481E077E7D33}" dt="2022-07-11T00:14:56.840" v="1180" actId="20577"/>
          <ac:spMkLst>
            <pc:docMk/>
            <pc:sldMk cId="4066729470" sldId="283"/>
            <ac:spMk id="55" creationId="{6942F6F3-015D-9553-239A-77B3CA95FEE3}"/>
          </ac:spMkLst>
        </pc:spChg>
        <pc:spChg chg="add mod">
          <ac:chgData name="Massimo Alfonzo" userId="cef0ebbf-9067-4a40-8c82-7d97e03714d2" providerId="ADAL" clId="{CE2C85BF-A759-43FC-9E04-481E077E7D33}" dt="2022-07-11T00:12:54.257" v="1063" actId="1038"/>
          <ac:spMkLst>
            <pc:docMk/>
            <pc:sldMk cId="4066729470" sldId="283"/>
            <ac:spMk id="56" creationId="{070F6746-8E59-DD25-D6AB-BC8F90277555}"/>
          </ac:spMkLst>
        </pc:spChg>
        <pc:spChg chg="add mod">
          <ac:chgData name="Massimo Alfonzo" userId="cef0ebbf-9067-4a40-8c82-7d97e03714d2" providerId="ADAL" clId="{CE2C85BF-A759-43FC-9E04-481E077E7D33}" dt="2022-07-11T00:10:08.412" v="956" actId="20577"/>
          <ac:spMkLst>
            <pc:docMk/>
            <pc:sldMk cId="4066729470" sldId="283"/>
            <ac:spMk id="57" creationId="{40F1602B-9868-A8FA-EC3F-65FA426DBE67}"/>
          </ac:spMkLst>
        </pc:spChg>
        <pc:spChg chg="add mod">
          <ac:chgData name="Massimo Alfonzo" userId="cef0ebbf-9067-4a40-8c82-7d97e03714d2" providerId="ADAL" clId="{CE2C85BF-A759-43FC-9E04-481E077E7D33}" dt="2022-07-11T00:10:21.578" v="958" actId="1076"/>
          <ac:spMkLst>
            <pc:docMk/>
            <pc:sldMk cId="4066729470" sldId="283"/>
            <ac:spMk id="58" creationId="{63E3DB91-2FF8-B800-179D-5C5E7B9A8508}"/>
          </ac:spMkLst>
        </pc:spChg>
        <pc:spChg chg="add mod">
          <ac:chgData name="Massimo Alfonzo" userId="cef0ebbf-9067-4a40-8c82-7d97e03714d2" providerId="ADAL" clId="{CE2C85BF-A759-43FC-9E04-481E077E7D33}" dt="2022-07-11T00:10:35.732" v="970" actId="1076"/>
          <ac:spMkLst>
            <pc:docMk/>
            <pc:sldMk cId="4066729470" sldId="283"/>
            <ac:spMk id="60" creationId="{5566FB1C-3854-4D87-A05D-7246CDB80804}"/>
          </ac:spMkLst>
        </pc:spChg>
        <pc:cxnChg chg="mod">
          <ac:chgData name="Massimo Alfonzo" userId="cef0ebbf-9067-4a40-8c82-7d97e03714d2" providerId="ADAL" clId="{CE2C85BF-A759-43FC-9E04-481E077E7D33}" dt="2022-07-11T00:10:45.617" v="971" actId="1076"/>
          <ac:cxnSpMkLst>
            <pc:docMk/>
            <pc:sldMk cId="4066729470" sldId="283"/>
            <ac:cxnSpMk id="14" creationId="{B9EEABD6-46D6-953A-C67E-EB5608393662}"/>
          </ac:cxnSpMkLst>
        </pc:cxnChg>
        <pc:cxnChg chg="mod">
          <ac:chgData name="Massimo Alfonzo" userId="cef0ebbf-9067-4a40-8c82-7d97e03714d2" providerId="ADAL" clId="{CE2C85BF-A759-43FC-9E04-481E077E7D33}" dt="2022-07-11T00:10:54.865" v="982" actId="1037"/>
          <ac:cxnSpMkLst>
            <pc:docMk/>
            <pc:sldMk cId="4066729470" sldId="283"/>
            <ac:cxnSpMk id="17" creationId="{480FA45B-A266-4C5F-1447-8A1B0EEFD244}"/>
          </ac:cxnSpMkLst>
        </pc:cxnChg>
        <pc:cxnChg chg="mod">
          <ac:chgData name="Massimo Alfonzo" userId="cef0ebbf-9067-4a40-8c82-7d97e03714d2" providerId="ADAL" clId="{CE2C85BF-A759-43FC-9E04-481E077E7D33}" dt="2022-07-11T00:12:01.799" v="1024" actId="1038"/>
          <ac:cxnSpMkLst>
            <pc:docMk/>
            <pc:sldMk cId="4066729470" sldId="283"/>
            <ac:cxnSpMk id="22" creationId="{572D79CB-5B75-053D-AD51-B0A2AC61B863}"/>
          </ac:cxnSpMkLst>
        </pc:cxnChg>
        <pc:cxnChg chg="mod">
          <ac:chgData name="Massimo Alfonzo" userId="cef0ebbf-9067-4a40-8c82-7d97e03714d2" providerId="ADAL" clId="{CE2C85BF-A759-43FC-9E04-481E077E7D33}" dt="2022-07-11T00:11:55.476" v="1022" actId="14100"/>
          <ac:cxnSpMkLst>
            <pc:docMk/>
            <pc:sldMk cId="4066729470" sldId="283"/>
            <ac:cxnSpMk id="25" creationId="{B5950456-176B-E5AF-3091-38868BA34116}"/>
          </ac:cxnSpMkLst>
        </pc:cxnChg>
        <pc:cxnChg chg="mod">
          <ac:chgData name="Massimo Alfonzo" userId="cef0ebbf-9067-4a40-8c82-7d97e03714d2" providerId="ADAL" clId="{CE2C85BF-A759-43FC-9E04-481E077E7D33}" dt="2022-07-11T00:11:37.957" v="1011" actId="1038"/>
          <ac:cxnSpMkLst>
            <pc:docMk/>
            <pc:sldMk cId="4066729470" sldId="283"/>
            <ac:cxnSpMk id="28" creationId="{2B1BAE52-181D-D791-DC65-353487DCD759}"/>
          </ac:cxnSpMkLst>
        </pc:cxnChg>
        <pc:cxnChg chg="mod">
          <ac:chgData name="Massimo Alfonzo" userId="cef0ebbf-9067-4a40-8c82-7d97e03714d2" providerId="ADAL" clId="{CE2C85BF-A759-43FC-9E04-481E077E7D33}" dt="2022-07-11T00:04:55.852" v="697" actId="1076"/>
          <ac:cxnSpMkLst>
            <pc:docMk/>
            <pc:sldMk cId="4066729470" sldId="283"/>
            <ac:cxnSpMk id="31" creationId="{DFBE6163-FDA9-A985-EEA0-C79BD7E64C3A}"/>
          </ac:cxnSpMkLst>
        </pc:cxnChg>
        <pc:cxnChg chg="mod">
          <ac:chgData name="Massimo Alfonzo" userId="cef0ebbf-9067-4a40-8c82-7d97e03714d2" providerId="ADAL" clId="{CE2C85BF-A759-43FC-9E04-481E077E7D33}" dt="2022-07-11T00:05:17.018" v="701" actId="1076"/>
          <ac:cxnSpMkLst>
            <pc:docMk/>
            <pc:sldMk cId="4066729470" sldId="283"/>
            <ac:cxnSpMk id="34" creationId="{E7BF8D70-B238-DC0E-D8FB-91CAA5962150}"/>
          </ac:cxnSpMkLst>
        </pc:cxnChg>
        <pc:cxnChg chg="mod">
          <ac:chgData name="Massimo Alfonzo" userId="cef0ebbf-9067-4a40-8c82-7d97e03714d2" providerId="ADAL" clId="{CE2C85BF-A759-43FC-9E04-481E077E7D33}" dt="2022-07-11T00:06:04.724" v="710" actId="1076"/>
          <ac:cxnSpMkLst>
            <pc:docMk/>
            <pc:sldMk cId="4066729470" sldId="283"/>
            <ac:cxnSpMk id="37" creationId="{67A13C71-268A-2D0B-DA6B-C82B38817605}"/>
          </ac:cxnSpMkLst>
        </pc:cxnChg>
        <pc:cxnChg chg="mod">
          <ac:chgData name="Massimo Alfonzo" userId="cef0ebbf-9067-4a40-8c82-7d97e03714d2" providerId="ADAL" clId="{CE2C85BF-A759-43FC-9E04-481E077E7D33}" dt="2022-07-11T00:06:20.028" v="714" actId="1076"/>
          <ac:cxnSpMkLst>
            <pc:docMk/>
            <pc:sldMk cId="4066729470" sldId="283"/>
            <ac:cxnSpMk id="40" creationId="{41F3DBFA-A594-B063-4B39-8C7666B4AE1B}"/>
          </ac:cxnSpMkLst>
        </pc:cxnChg>
        <pc:cxnChg chg="add del mod">
          <ac:chgData name="Massimo Alfonzo" userId="cef0ebbf-9067-4a40-8c82-7d97e03714d2" providerId="ADAL" clId="{CE2C85BF-A759-43FC-9E04-481E077E7D33}" dt="2022-07-11T00:02:47.940" v="671"/>
          <ac:cxnSpMkLst>
            <pc:docMk/>
            <pc:sldMk cId="4066729470" sldId="283"/>
            <ac:cxnSpMk id="44" creationId="{752E1D74-9ABB-DFCF-F207-ADA7ADB93B95}"/>
          </ac:cxnSpMkLst>
        </pc:cxnChg>
        <pc:cxnChg chg="add mod">
          <ac:chgData name="Massimo Alfonzo" userId="cef0ebbf-9067-4a40-8c82-7d97e03714d2" providerId="ADAL" clId="{CE2C85BF-A759-43FC-9E04-481E077E7D33}" dt="2022-07-11T00:07:05.989" v="744" actId="1076"/>
          <ac:cxnSpMkLst>
            <pc:docMk/>
            <pc:sldMk cId="4066729470" sldId="283"/>
            <ac:cxnSpMk id="47" creationId="{B1C1A628-D72A-F8AF-F71C-CFF65C78032E}"/>
          </ac:cxnSpMkLst>
        </pc:cxnChg>
        <pc:cxnChg chg="add mod">
          <ac:chgData name="Massimo Alfonzo" userId="cef0ebbf-9067-4a40-8c82-7d97e03714d2" providerId="ADAL" clId="{CE2C85BF-A759-43FC-9E04-481E077E7D33}" dt="2022-07-11T00:08:19.933" v="827" actId="1076"/>
          <ac:cxnSpMkLst>
            <pc:docMk/>
            <pc:sldMk cId="4066729470" sldId="283"/>
            <ac:cxnSpMk id="50" creationId="{34954F6B-3A9B-BFD4-28D4-2FB3CD166E38}"/>
          </ac:cxnSpMkLst>
        </pc:cxnChg>
        <pc:cxnChg chg="add mod">
          <ac:chgData name="Massimo Alfonzo" userId="cef0ebbf-9067-4a40-8c82-7d97e03714d2" providerId="ADAL" clId="{CE2C85BF-A759-43FC-9E04-481E077E7D33}" dt="2022-07-11T00:13:03.699" v="1079" actId="1036"/>
          <ac:cxnSpMkLst>
            <pc:docMk/>
            <pc:sldMk cId="4066729470" sldId="283"/>
            <ac:cxnSpMk id="52" creationId="{0676AEB9-1CA0-8F84-EF6A-B84C75DA5293}"/>
          </ac:cxnSpMkLst>
        </pc:cxnChg>
        <pc:cxnChg chg="add mod">
          <ac:chgData name="Massimo Alfonzo" userId="cef0ebbf-9067-4a40-8c82-7d97e03714d2" providerId="ADAL" clId="{CE2C85BF-A759-43FC-9E04-481E077E7D33}" dt="2022-07-11T00:09:57.610" v="935" actId="1076"/>
          <ac:cxnSpMkLst>
            <pc:docMk/>
            <pc:sldMk cId="4066729470" sldId="283"/>
            <ac:cxnSpMk id="54" creationId="{34381DFC-EE92-D5CC-A874-5EFCECF39C25}"/>
          </ac:cxnSpMkLst>
        </pc:cxnChg>
        <pc:cxnChg chg="add mod">
          <ac:chgData name="Massimo Alfonzo" userId="cef0ebbf-9067-4a40-8c82-7d97e03714d2" providerId="ADAL" clId="{CE2C85BF-A759-43FC-9E04-481E077E7D33}" dt="2022-07-11T00:10:21.578" v="958" actId="1076"/>
          <ac:cxnSpMkLst>
            <pc:docMk/>
            <pc:sldMk cId="4066729470" sldId="283"/>
            <ac:cxnSpMk id="59" creationId="{C79642CE-6615-C5EB-2122-89428D06061A}"/>
          </ac:cxnSpMkLst>
        </pc:cxnChg>
      </pc:sldChg>
      <pc:sldChg chg="addSp delSp modSp mod modCm">
        <pc:chgData name="Massimo Alfonzo" userId="cef0ebbf-9067-4a40-8c82-7d97e03714d2" providerId="ADAL" clId="{CE2C85BF-A759-43FC-9E04-481E077E7D33}" dt="2022-07-13T09:45:32.958" v="4783" actId="1076"/>
        <pc:sldMkLst>
          <pc:docMk/>
          <pc:sldMk cId="10835379" sldId="286"/>
        </pc:sldMkLst>
        <pc:spChg chg="add mod">
          <ac:chgData name="Massimo Alfonzo" userId="cef0ebbf-9067-4a40-8c82-7d97e03714d2" providerId="ADAL" clId="{CE2C85BF-A759-43FC-9E04-481E077E7D33}" dt="2022-07-13T09:45:32.958" v="4783" actId="1076"/>
          <ac:spMkLst>
            <pc:docMk/>
            <pc:sldMk cId="10835379" sldId="286"/>
            <ac:spMk id="24" creationId="{6512CB9C-DFFB-6ED9-0D59-B414D385B871}"/>
          </ac:spMkLst>
        </pc:spChg>
        <pc:grpChg chg="add del mod">
          <ac:chgData name="Massimo Alfonzo" userId="cef0ebbf-9067-4a40-8c82-7d97e03714d2" providerId="ADAL" clId="{CE2C85BF-A759-43FC-9E04-481E077E7D33}" dt="2022-07-13T09:39:09.605" v="4769" actId="208"/>
          <ac:grpSpMkLst>
            <pc:docMk/>
            <pc:sldMk cId="10835379" sldId="286"/>
            <ac:grpSpMk id="3" creationId="{1DF06903-DDD6-1B4A-BA75-E6B079A60872}"/>
          </ac:grpSpMkLst>
        </pc:grpChg>
      </pc:sldChg>
      <pc:sldChg chg="new del">
        <pc:chgData name="Massimo Alfonzo" userId="cef0ebbf-9067-4a40-8c82-7d97e03714d2" providerId="ADAL" clId="{CE2C85BF-A759-43FC-9E04-481E077E7D33}" dt="2022-07-10T23:49:56.861" v="3" actId="47"/>
        <pc:sldMkLst>
          <pc:docMk/>
          <pc:sldMk cId="1210593469" sldId="288"/>
        </pc:sldMkLst>
      </pc:sldChg>
      <pc:sldChg chg="addSp delSp modSp add mod">
        <pc:chgData name="Massimo Alfonzo" userId="cef0ebbf-9067-4a40-8c82-7d97e03714d2" providerId="ADAL" clId="{CE2C85BF-A759-43FC-9E04-481E077E7D33}" dt="2022-07-11T11:33:17.899" v="1689" actId="478"/>
        <pc:sldMkLst>
          <pc:docMk/>
          <pc:sldMk cId="4285127156" sldId="288"/>
        </pc:sldMkLst>
        <pc:spChg chg="mod">
          <ac:chgData name="Massimo Alfonzo" userId="cef0ebbf-9067-4a40-8c82-7d97e03714d2" providerId="ADAL" clId="{CE2C85BF-A759-43FC-9E04-481E077E7D33}" dt="2022-07-11T11:33:15.024" v="1688" actId="27636"/>
          <ac:spMkLst>
            <pc:docMk/>
            <pc:sldMk cId="4285127156" sldId="288"/>
            <ac:spMk id="2" creationId="{C6785AE7-8B00-486C-9A8C-F571C93177E4}"/>
          </ac:spMkLst>
        </pc:spChg>
        <pc:spChg chg="add del mod">
          <ac:chgData name="Massimo Alfonzo" userId="cef0ebbf-9067-4a40-8c82-7d97e03714d2" providerId="ADAL" clId="{CE2C85BF-A759-43FC-9E04-481E077E7D33}" dt="2022-07-11T11:33:17.899" v="1689" actId="478"/>
          <ac:spMkLst>
            <pc:docMk/>
            <pc:sldMk cId="4285127156" sldId="288"/>
            <ac:spMk id="11" creationId="{BA1B6992-312C-F7E4-EF1C-17B48236AABA}"/>
          </ac:spMkLst>
        </pc:spChg>
        <pc:spChg chg="add mod">
          <ac:chgData name="Massimo Alfonzo" userId="cef0ebbf-9067-4a40-8c82-7d97e03714d2" providerId="ADAL" clId="{CE2C85BF-A759-43FC-9E04-481E077E7D33}" dt="2022-07-11T11:14:30.553" v="1324" actId="20577"/>
          <ac:spMkLst>
            <pc:docMk/>
            <pc:sldMk cId="4285127156" sldId="288"/>
            <ac:spMk id="13" creationId="{F53F6AE3-79B5-5F7F-4CF7-1C4883098654}"/>
          </ac:spMkLst>
        </pc:spChg>
        <pc:picChg chg="add mod">
          <ac:chgData name="Massimo Alfonzo" userId="cef0ebbf-9067-4a40-8c82-7d97e03714d2" providerId="ADAL" clId="{CE2C85BF-A759-43FC-9E04-481E077E7D33}" dt="2022-07-11T09:47:04.192" v="1263" actId="1076"/>
          <ac:picMkLst>
            <pc:docMk/>
            <pc:sldMk cId="4285127156" sldId="288"/>
            <ac:picMk id="5" creationId="{7C0E96CF-E869-503E-3AD9-2CAA20B2985D}"/>
          </ac:picMkLst>
        </pc:picChg>
        <pc:picChg chg="add del">
          <ac:chgData name="Massimo Alfonzo" userId="cef0ebbf-9067-4a40-8c82-7d97e03714d2" providerId="ADAL" clId="{CE2C85BF-A759-43FC-9E04-481E077E7D33}" dt="2022-07-10T23:50:22.427" v="27" actId="478"/>
          <ac:picMkLst>
            <pc:docMk/>
            <pc:sldMk cId="4285127156" sldId="288"/>
            <ac:picMk id="7" creationId="{9C4D0B2D-CE43-6508-9F80-A804F6991A04}"/>
          </ac:picMkLst>
        </pc:picChg>
        <pc:picChg chg="add mod">
          <ac:chgData name="Massimo Alfonzo" userId="cef0ebbf-9067-4a40-8c82-7d97e03714d2" providerId="ADAL" clId="{CE2C85BF-A759-43FC-9E04-481E077E7D33}" dt="2022-07-11T09:47:20.345" v="1267" actId="1076"/>
          <ac:picMkLst>
            <pc:docMk/>
            <pc:sldMk cId="4285127156" sldId="288"/>
            <ac:picMk id="9" creationId="{846967B7-83C9-7A75-BED7-77F5CE3AC841}"/>
          </ac:picMkLst>
        </pc:picChg>
        <pc:picChg chg="add mod">
          <ac:chgData name="Massimo Alfonzo" userId="cef0ebbf-9067-4a40-8c82-7d97e03714d2" providerId="ADAL" clId="{CE2C85BF-A759-43FC-9E04-481E077E7D33}" dt="2022-07-11T09:47:19.676" v="1266" actId="1076"/>
          <ac:picMkLst>
            <pc:docMk/>
            <pc:sldMk cId="4285127156" sldId="288"/>
            <ac:picMk id="12" creationId="{15CC479E-4A48-1A53-49FA-5773356DC7CB}"/>
          </ac:picMkLst>
        </pc:picChg>
      </pc:sldChg>
      <pc:sldChg chg="addSp delSp modSp add mod">
        <pc:chgData name="Massimo Alfonzo" userId="cef0ebbf-9067-4a40-8c82-7d97e03714d2" providerId="ADAL" clId="{CE2C85BF-A759-43FC-9E04-481E077E7D33}" dt="2022-07-11T00:16:06.178" v="1256" actId="20577"/>
        <pc:sldMkLst>
          <pc:docMk/>
          <pc:sldMk cId="1378627293" sldId="289"/>
        </pc:sldMkLst>
        <pc:spChg chg="mod">
          <ac:chgData name="Massimo Alfonzo" userId="cef0ebbf-9067-4a40-8c82-7d97e03714d2" providerId="ADAL" clId="{CE2C85BF-A759-43FC-9E04-481E077E7D33}" dt="2022-07-10T23:51:05.939" v="112" actId="20577"/>
          <ac:spMkLst>
            <pc:docMk/>
            <pc:sldMk cId="1378627293" sldId="289"/>
            <ac:spMk id="2" creationId="{C6785AE7-8B00-486C-9A8C-F571C93177E4}"/>
          </ac:spMkLst>
        </pc:spChg>
        <pc:spChg chg="add mod">
          <ac:chgData name="Massimo Alfonzo" userId="cef0ebbf-9067-4a40-8c82-7d97e03714d2" providerId="ADAL" clId="{CE2C85BF-A759-43FC-9E04-481E077E7D33}" dt="2022-07-11T00:16:06.178" v="1256" actId="20577"/>
          <ac:spMkLst>
            <pc:docMk/>
            <pc:sldMk cId="1378627293" sldId="289"/>
            <ac:spMk id="8" creationId="{D9E1A0CF-6430-9217-4DAE-BD7DA0B7945A}"/>
          </ac:spMkLst>
        </pc:spChg>
        <pc:spChg chg="del">
          <ac:chgData name="Massimo Alfonzo" userId="cef0ebbf-9067-4a40-8c82-7d97e03714d2" providerId="ADAL" clId="{CE2C85BF-A759-43FC-9E04-481E077E7D33}" dt="2022-07-10T23:50:55.096" v="81" actId="478"/>
          <ac:spMkLst>
            <pc:docMk/>
            <pc:sldMk cId="1378627293" sldId="289"/>
            <ac:spMk id="11" creationId="{BA1B6992-312C-F7E4-EF1C-17B48236AABA}"/>
          </ac:spMkLst>
        </pc:spChg>
        <pc:picChg chg="del">
          <ac:chgData name="Massimo Alfonzo" userId="cef0ebbf-9067-4a40-8c82-7d97e03714d2" providerId="ADAL" clId="{CE2C85BF-A759-43FC-9E04-481E077E7D33}" dt="2022-07-10T23:50:54.035" v="80" actId="478"/>
          <ac:picMkLst>
            <pc:docMk/>
            <pc:sldMk cId="1378627293" sldId="289"/>
            <ac:picMk id="7" creationId="{9C4D0B2D-CE43-6508-9F80-A804F6991A04}"/>
          </ac:picMkLst>
        </pc:picChg>
      </pc:sldChg>
      <pc:sldChg chg="addSp delSp modSp add mod">
        <pc:chgData name="Massimo Alfonzo" userId="cef0ebbf-9067-4a40-8c82-7d97e03714d2" providerId="ADAL" clId="{CE2C85BF-A759-43FC-9E04-481E077E7D33}" dt="2022-07-13T09:51:13.977" v="4800"/>
        <pc:sldMkLst>
          <pc:docMk/>
          <pc:sldMk cId="3219366404" sldId="290"/>
        </pc:sldMkLst>
        <pc:spChg chg="mod">
          <ac:chgData name="Massimo Alfonzo" userId="cef0ebbf-9067-4a40-8c82-7d97e03714d2" providerId="ADAL" clId="{CE2C85BF-A759-43FC-9E04-481E077E7D33}" dt="2022-07-10T23:52:24.303" v="277" actId="20577"/>
          <ac:spMkLst>
            <pc:docMk/>
            <pc:sldMk cId="3219366404" sldId="290"/>
            <ac:spMk id="11" creationId="{BA1B6992-312C-F7E4-EF1C-17B48236AABA}"/>
          </ac:spMkLst>
        </pc:spChg>
        <pc:spChg chg="mod">
          <ac:chgData name="Massimo Alfonzo" userId="cef0ebbf-9067-4a40-8c82-7d97e03714d2" providerId="ADAL" clId="{CE2C85BF-A759-43FC-9E04-481E077E7D33}" dt="2022-07-13T09:51:09.903" v="4797"/>
          <ac:spMkLst>
            <pc:docMk/>
            <pc:sldMk cId="3219366404" sldId="290"/>
            <ac:spMk id="12" creationId="{EB83A5F9-782A-4532-2CE6-0C04496F7D7F}"/>
          </ac:spMkLst>
        </pc:spChg>
        <pc:spChg chg="mod">
          <ac:chgData name="Massimo Alfonzo" userId="cef0ebbf-9067-4a40-8c82-7d97e03714d2" providerId="ADAL" clId="{CE2C85BF-A759-43FC-9E04-481E077E7D33}" dt="2022-07-13T09:51:09.903" v="4797"/>
          <ac:spMkLst>
            <pc:docMk/>
            <pc:sldMk cId="3219366404" sldId="290"/>
            <ac:spMk id="13" creationId="{6908A622-3069-5856-B39A-7B3BE99A5F14}"/>
          </ac:spMkLst>
        </pc:spChg>
        <pc:spChg chg="mod">
          <ac:chgData name="Massimo Alfonzo" userId="cef0ebbf-9067-4a40-8c82-7d97e03714d2" providerId="ADAL" clId="{CE2C85BF-A759-43FC-9E04-481E077E7D33}" dt="2022-07-13T09:51:09.903" v="4797"/>
          <ac:spMkLst>
            <pc:docMk/>
            <pc:sldMk cId="3219366404" sldId="290"/>
            <ac:spMk id="14" creationId="{1041FA98-8D6F-67BE-1F0B-9F329FB0A92F}"/>
          </ac:spMkLst>
        </pc:spChg>
        <pc:spChg chg="mod">
          <ac:chgData name="Massimo Alfonzo" userId="cef0ebbf-9067-4a40-8c82-7d97e03714d2" providerId="ADAL" clId="{CE2C85BF-A759-43FC-9E04-481E077E7D33}" dt="2022-07-13T09:51:13.440" v="4799" actId="571"/>
          <ac:spMkLst>
            <pc:docMk/>
            <pc:sldMk cId="3219366404" sldId="290"/>
            <ac:spMk id="16" creationId="{68A4EF3F-5268-DC38-4E91-29F0808F9BEE}"/>
          </ac:spMkLst>
        </pc:spChg>
        <pc:spChg chg="mod">
          <ac:chgData name="Massimo Alfonzo" userId="cef0ebbf-9067-4a40-8c82-7d97e03714d2" providerId="ADAL" clId="{CE2C85BF-A759-43FC-9E04-481E077E7D33}" dt="2022-07-13T09:51:13.440" v="4799" actId="571"/>
          <ac:spMkLst>
            <pc:docMk/>
            <pc:sldMk cId="3219366404" sldId="290"/>
            <ac:spMk id="17" creationId="{31C94AAB-BCFE-9731-83EB-C4D9787AA993}"/>
          </ac:spMkLst>
        </pc:spChg>
        <pc:spChg chg="mod">
          <ac:chgData name="Massimo Alfonzo" userId="cef0ebbf-9067-4a40-8c82-7d97e03714d2" providerId="ADAL" clId="{CE2C85BF-A759-43FC-9E04-481E077E7D33}" dt="2022-07-13T09:51:13.440" v="4799" actId="571"/>
          <ac:spMkLst>
            <pc:docMk/>
            <pc:sldMk cId="3219366404" sldId="290"/>
            <ac:spMk id="18" creationId="{F164DA07-D24E-0004-1547-F27C43A197C0}"/>
          </ac:spMkLst>
        </pc:spChg>
        <pc:grpChg chg="add del mod">
          <ac:chgData name="Massimo Alfonzo" userId="cef0ebbf-9067-4a40-8c82-7d97e03714d2" providerId="ADAL" clId="{CE2C85BF-A759-43FC-9E04-481E077E7D33}" dt="2022-07-13T09:51:13.977" v="4800"/>
          <ac:grpSpMkLst>
            <pc:docMk/>
            <pc:sldMk cId="3219366404" sldId="290"/>
            <ac:grpSpMk id="10" creationId="{AC579508-F943-C0D9-623F-68B2625E41FB}"/>
          </ac:grpSpMkLst>
        </pc:grpChg>
        <pc:grpChg chg="add mod">
          <ac:chgData name="Massimo Alfonzo" userId="cef0ebbf-9067-4a40-8c82-7d97e03714d2" providerId="ADAL" clId="{CE2C85BF-A759-43FC-9E04-481E077E7D33}" dt="2022-07-13T09:51:13.440" v="4799" actId="571"/>
          <ac:grpSpMkLst>
            <pc:docMk/>
            <pc:sldMk cId="3219366404" sldId="290"/>
            <ac:grpSpMk id="15" creationId="{3B0C7DAA-CA1D-F48E-760D-A7CBEEBF1940}"/>
          </ac:grpSpMkLst>
        </pc:grpChg>
      </pc:sldChg>
      <pc:sldChg chg="addSp delSp modSp add mod modAnim">
        <pc:chgData name="Massimo Alfonzo" userId="cef0ebbf-9067-4a40-8c82-7d97e03714d2" providerId="ADAL" clId="{CE2C85BF-A759-43FC-9E04-481E077E7D33}" dt="2022-07-13T10:39:24.692" v="4880" actId="14100"/>
        <pc:sldMkLst>
          <pc:docMk/>
          <pc:sldMk cId="3801310453" sldId="291"/>
        </pc:sldMkLst>
        <pc:spChg chg="add del mod">
          <ac:chgData name="Massimo Alfonzo" userId="cef0ebbf-9067-4a40-8c82-7d97e03714d2" providerId="ADAL" clId="{CE2C85BF-A759-43FC-9E04-481E077E7D33}" dt="2022-07-11T12:40:47.270" v="2122" actId="21"/>
          <ac:spMkLst>
            <pc:docMk/>
            <pc:sldMk cId="3801310453" sldId="291"/>
            <ac:spMk id="3" creationId="{AFD9AB40-A652-CBF8-C5AA-86F9697C60CD}"/>
          </ac:spMkLst>
        </pc:spChg>
        <pc:spChg chg="mod">
          <ac:chgData name="Massimo Alfonzo" userId="cef0ebbf-9067-4a40-8c82-7d97e03714d2" providerId="ADAL" clId="{CE2C85BF-A759-43FC-9E04-481E077E7D33}" dt="2022-07-10T23:52:45.378" v="322" actId="20577"/>
          <ac:spMkLst>
            <pc:docMk/>
            <pc:sldMk cId="3801310453" sldId="291"/>
            <ac:spMk id="11" creationId="{BA1B6992-312C-F7E4-EF1C-17B48236AABA}"/>
          </ac:spMkLst>
        </pc:spChg>
        <pc:spChg chg="add mod">
          <ac:chgData name="Massimo Alfonzo" userId="cef0ebbf-9067-4a40-8c82-7d97e03714d2" providerId="ADAL" clId="{CE2C85BF-A759-43FC-9E04-481E077E7D33}" dt="2022-07-13T10:39:10.230" v="4876" actId="1076"/>
          <ac:spMkLst>
            <pc:docMk/>
            <pc:sldMk cId="3801310453" sldId="291"/>
            <ac:spMk id="14" creationId="{7402CE13-2C43-EEDA-F037-A2D8061A045A}"/>
          </ac:spMkLst>
        </pc:spChg>
        <pc:spChg chg="add mod">
          <ac:chgData name="Massimo Alfonzo" userId="cef0ebbf-9067-4a40-8c82-7d97e03714d2" providerId="ADAL" clId="{CE2C85BF-A759-43FC-9E04-481E077E7D33}" dt="2022-07-13T10:35:27.003" v="4869" actId="14100"/>
          <ac:spMkLst>
            <pc:docMk/>
            <pc:sldMk cId="3801310453" sldId="291"/>
            <ac:spMk id="18" creationId="{C8827AFA-0725-A17A-BD25-30EC048EFE15}"/>
          </ac:spMkLst>
        </pc:spChg>
        <pc:spChg chg="add mod">
          <ac:chgData name="Massimo Alfonzo" userId="cef0ebbf-9067-4a40-8c82-7d97e03714d2" providerId="ADAL" clId="{CE2C85BF-A759-43FC-9E04-481E077E7D33}" dt="2022-07-13T10:39:24.692" v="4880" actId="14100"/>
          <ac:spMkLst>
            <pc:docMk/>
            <pc:sldMk cId="3801310453" sldId="291"/>
            <ac:spMk id="19" creationId="{9A8F99F8-EBA2-CAA9-9CFA-4B1AAC8F3A24}"/>
          </ac:spMkLst>
        </pc:spChg>
        <pc:spChg chg="add mod">
          <ac:chgData name="Massimo Alfonzo" userId="cef0ebbf-9067-4a40-8c82-7d97e03714d2" providerId="ADAL" clId="{CE2C85BF-A759-43FC-9E04-481E077E7D33}" dt="2022-07-13T10:35:22.198" v="4868" actId="1076"/>
          <ac:spMkLst>
            <pc:docMk/>
            <pc:sldMk cId="3801310453" sldId="291"/>
            <ac:spMk id="21" creationId="{E5D44B55-CE36-7A63-5764-F7765D33A503}"/>
          </ac:spMkLst>
        </pc:spChg>
        <pc:spChg chg="mod">
          <ac:chgData name="Massimo Alfonzo" userId="cef0ebbf-9067-4a40-8c82-7d97e03714d2" providerId="ADAL" clId="{CE2C85BF-A759-43FC-9E04-481E077E7D33}" dt="2022-07-13T10:36:38.984" v="4874" actId="1076"/>
          <ac:spMkLst>
            <pc:docMk/>
            <pc:sldMk cId="3801310453" sldId="291"/>
            <ac:spMk id="23" creationId="{D6C73DB3-4EA7-199E-7C85-9CD874AF1263}"/>
          </ac:spMkLst>
        </pc:spChg>
        <pc:spChg chg="mod">
          <ac:chgData name="Massimo Alfonzo" userId="cef0ebbf-9067-4a40-8c82-7d97e03714d2" providerId="ADAL" clId="{CE2C85BF-A759-43FC-9E04-481E077E7D33}" dt="2022-07-13T10:34:34.404" v="4849" actId="1076"/>
          <ac:spMkLst>
            <pc:docMk/>
            <pc:sldMk cId="3801310453" sldId="291"/>
            <ac:spMk id="27" creationId="{60FB3311-F391-EAC8-FEF1-AD6DDDB92B45}"/>
          </ac:spMkLst>
        </pc:spChg>
        <pc:spChg chg="mod">
          <ac:chgData name="Massimo Alfonzo" userId="cef0ebbf-9067-4a40-8c82-7d97e03714d2" providerId="ADAL" clId="{CE2C85BF-A759-43FC-9E04-481E077E7D33}" dt="2022-07-13T10:34:34.404" v="4849" actId="1076"/>
          <ac:spMkLst>
            <pc:docMk/>
            <pc:sldMk cId="3801310453" sldId="291"/>
            <ac:spMk id="28" creationId="{20ED1EB3-0BDE-4EA9-2F97-EB4E89A28440}"/>
          </ac:spMkLst>
        </pc:spChg>
        <pc:spChg chg="mod ord">
          <ac:chgData name="Massimo Alfonzo" userId="cef0ebbf-9067-4a40-8c82-7d97e03714d2" providerId="ADAL" clId="{CE2C85BF-A759-43FC-9E04-481E077E7D33}" dt="2022-07-13T10:39:19.141" v="4878" actId="14100"/>
          <ac:spMkLst>
            <pc:docMk/>
            <pc:sldMk cId="3801310453" sldId="291"/>
            <ac:spMk id="29" creationId="{1C04DFD9-5A5B-403E-46DF-FE208E10615F}"/>
          </ac:spMkLst>
        </pc:spChg>
        <pc:spChg chg="mod">
          <ac:chgData name="Massimo Alfonzo" userId="cef0ebbf-9067-4a40-8c82-7d97e03714d2" providerId="ADAL" clId="{CE2C85BF-A759-43FC-9E04-481E077E7D33}" dt="2022-07-13T10:34:34.404" v="4849" actId="1076"/>
          <ac:spMkLst>
            <pc:docMk/>
            <pc:sldMk cId="3801310453" sldId="291"/>
            <ac:spMk id="30" creationId="{DB10F60E-1C6A-B6B5-7D1F-590201FF60B2}"/>
          </ac:spMkLst>
        </pc:spChg>
        <pc:picChg chg="add mod">
          <ac:chgData name="Massimo Alfonzo" userId="cef0ebbf-9067-4a40-8c82-7d97e03714d2" providerId="ADAL" clId="{CE2C85BF-A759-43FC-9E04-481E077E7D33}" dt="2022-07-13T10:34:38.949" v="4851" actId="1076"/>
          <ac:picMkLst>
            <pc:docMk/>
            <pc:sldMk cId="3801310453" sldId="291"/>
            <ac:picMk id="13" creationId="{D9DFAB32-0A6B-61E4-6CB7-0D788DB8097D}"/>
          </ac:picMkLst>
        </pc:picChg>
        <pc:picChg chg="add del mod">
          <ac:chgData name="Massimo Alfonzo" userId="cef0ebbf-9067-4a40-8c82-7d97e03714d2" providerId="ADAL" clId="{CE2C85BF-A759-43FC-9E04-481E077E7D33}" dt="2022-07-13T10:35:01.973" v="4859"/>
          <ac:picMkLst>
            <pc:docMk/>
            <pc:sldMk cId="3801310453" sldId="291"/>
            <ac:picMk id="16" creationId="{87DC91C7-E1AE-AFC1-A34C-FD88F1205EC3}"/>
          </ac:picMkLst>
        </pc:picChg>
        <pc:picChg chg="mod">
          <ac:chgData name="Massimo Alfonzo" userId="cef0ebbf-9067-4a40-8c82-7d97e03714d2" providerId="ADAL" clId="{CE2C85BF-A759-43FC-9E04-481E077E7D33}" dt="2022-07-13T10:34:36.497" v="4850" actId="1076"/>
          <ac:picMkLst>
            <pc:docMk/>
            <pc:sldMk cId="3801310453" sldId="291"/>
            <ac:picMk id="20" creationId="{65A674C6-8680-649A-3AD3-DC03592A4C16}"/>
          </ac:picMkLst>
        </pc:picChg>
        <pc:picChg chg="mod">
          <ac:chgData name="Massimo Alfonzo" userId="cef0ebbf-9067-4a40-8c82-7d97e03714d2" providerId="ADAL" clId="{CE2C85BF-A759-43FC-9E04-481E077E7D33}" dt="2022-07-13T10:34:34.404" v="4849" actId="1076"/>
          <ac:picMkLst>
            <pc:docMk/>
            <pc:sldMk cId="3801310453" sldId="291"/>
            <ac:picMk id="26" creationId="{38C215CC-8724-C04E-21A5-4AAEBBA257B2}"/>
          </ac:picMkLst>
        </pc:picChg>
      </pc:sldChg>
      <pc:sldChg chg="addSp modSp add mod">
        <pc:chgData name="Massimo Alfonzo" userId="cef0ebbf-9067-4a40-8c82-7d97e03714d2" providerId="ADAL" clId="{CE2C85BF-A759-43FC-9E04-481E077E7D33}" dt="2022-07-13T10:36:10.326" v="4873" actId="13822"/>
        <pc:sldMkLst>
          <pc:docMk/>
          <pc:sldMk cId="151799418" sldId="292"/>
        </pc:sldMkLst>
        <pc:spChg chg="mod">
          <ac:chgData name="Massimo Alfonzo" userId="cef0ebbf-9067-4a40-8c82-7d97e03714d2" providerId="ADAL" clId="{CE2C85BF-A759-43FC-9E04-481E077E7D33}" dt="2022-07-10T23:53:39.222" v="375" actId="20577"/>
          <ac:spMkLst>
            <pc:docMk/>
            <pc:sldMk cId="151799418" sldId="292"/>
            <ac:spMk id="11" creationId="{BA1B6992-312C-F7E4-EF1C-17B48236AABA}"/>
          </ac:spMkLst>
        </pc:spChg>
        <pc:spChg chg="add mod ord">
          <ac:chgData name="Massimo Alfonzo" userId="cef0ebbf-9067-4a40-8c82-7d97e03714d2" providerId="ADAL" clId="{CE2C85BF-A759-43FC-9E04-481E077E7D33}" dt="2022-07-13T10:36:10.326" v="4873" actId="13822"/>
          <ac:spMkLst>
            <pc:docMk/>
            <pc:sldMk cId="151799418" sldId="292"/>
            <ac:spMk id="14" creationId="{5DB189DC-8295-C6B1-4007-455879F86605}"/>
          </ac:spMkLst>
        </pc:spChg>
      </pc:sldChg>
      <pc:sldChg chg="modSp add mod">
        <pc:chgData name="Massimo Alfonzo" userId="cef0ebbf-9067-4a40-8c82-7d97e03714d2" providerId="ADAL" clId="{CE2C85BF-A759-43FC-9E04-481E077E7D33}" dt="2022-07-10T23:55:22.727" v="583" actId="20577"/>
        <pc:sldMkLst>
          <pc:docMk/>
          <pc:sldMk cId="2203184600" sldId="293"/>
        </pc:sldMkLst>
        <pc:spChg chg="mod">
          <ac:chgData name="Massimo Alfonzo" userId="cef0ebbf-9067-4a40-8c82-7d97e03714d2" providerId="ADAL" clId="{CE2C85BF-A759-43FC-9E04-481E077E7D33}" dt="2022-07-10T23:53:49.503" v="386" actId="20577"/>
          <ac:spMkLst>
            <pc:docMk/>
            <pc:sldMk cId="2203184600" sldId="293"/>
            <ac:spMk id="2" creationId="{C6785AE7-8B00-486C-9A8C-F571C93177E4}"/>
          </ac:spMkLst>
        </pc:spChg>
        <pc:spChg chg="mod">
          <ac:chgData name="Massimo Alfonzo" userId="cef0ebbf-9067-4a40-8c82-7d97e03714d2" providerId="ADAL" clId="{CE2C85BF-A759-43FC-9E04-481E077E7D33}" dt="2022-07-10T23:55:22.727" v="583" actId="20577"/>
          <ac:spMkLst>
            <pc:docMk/>
            <pc:sldMk cId="2203184600" sldId="293"/>
            <ac:spMk id="11" creationId="{BA1B6992-312C-F7E4-EF1C-17B48236AABA}"/>
          </ac:spMkLst>
        </pc:spChg>
      </pc:sldChg>
      <pc:sldChg chg="addSp delSp modSp add mod">
        <pc:chgData name="Massimo Alfonzo" userId="cef0ebbf-9067-4a40-8c82-7d97e03714d2" providerId="ADAL" clId="{CE2C85BF-A759-43FC-9E04-481E077E7D33}" dt="2022-07-11T12:42:04.902" v="2158" actId="403"/>
        <pc:sldMkLst>
          <pc:docMk/>
          <pc:sldMk cId="2999950534" sldId="294"/>
        </pc:sldMkLst>
        <pc:spChg chg="mod">
          <ac:chgData name="Massimo Alfonzo" userId="cef0ebbf-9067-4a40-8c82-7d97e03714d2" providerId="ADAL" clId="{CE2C85BF-A759-43FC-9E04-481E077E7D33}" dt="2022-07-11T11:46:54.103" v="1708" actId="20577"/>
          <ac:spMkLst>
            <pc:docMk/>
            <pc:sldMk cId="2999950534" sldId="294"/>
            <ac:spMk id="2" creationId="{C6785AE7-8B00-486C-9A8C-F571C93177E4}"/>
          </ac:spMkLst>
        </pc:spChg>
        <pc:spChg chg="add mod">
          <ac:chgData name="Massimo Alfonzo" userId="cef0ebbf-9067-4a40-8c82-7d97e03714d2" providerId="ADAL" clId="{CE2C85BF-A759-43FC-9E04-481E077E7D33}" dt="2022-07-11T12:41:26.761" v="2126" actId="1076"/>
          <ac:spMkLst>
            <pc:docMk/>
            <pc:sldMk cId="2999950534" sldId="294"/>
            <ac:spMk id="8" creationId="{5A043839-8EEE-9A92-888C-D52FC844FEFB}"/>
          </ac:spMkLst>
        </pc:spChg>
        <pc:spChg chg="del mod">
          <ac:chgData name="Massimo Alfonzo" userId="cef0ebbf-9067-4a40-8c82-7d97e03714d2" providerId="ADAL" clId="{CE2C85BF-A759-43FC-9E04-481E077E7D33}" dt="2022-07-11T11:18:33.600" v="1466" actId="478"/>
          <ac:spMkLst>
            <pc:docMk/>
            <pc:sldMk cId="2999950534" sldId="294"/>
            <ac:spMk id="11" creationId="{BA1B6992-312C-F7E4-EF1C-17B48236AABA}"/>
          </ac:spMkLst>
        </pc:spChg>
        <pc:spChg chg="del">
          <ac:chgData name="Massimo Alfonzo" userId="cef0ebbf-9067-4a40-8c82-7d97e03714d2" providerId="ADAL" clId="{CE2C85BF-A759-43FC-9E04-481E077E7D33}" dt="2022-07-11T11:16:59.828" v="1332" actId="478"/>
          <ac:spMkLst>
            <pc:docMk/>
            <pc:sldMk cId="2999950534" sldId="294"/>
            <ac:spMk id="13" creationId="{F53F6AE3-79B5-5F7F-4CF7-1C4883098654}"/>
          </ac:spMkLst>
        </pc:spChg>
        <pc:spChg chg="add del mod">
          <ac:chgData name="Massimo Alfonzo" userId="cef0ebbf-9067-4a40-8c82-7d97e03714d2" providerId="ADAL" clId="{CE2C85BF-A759-43FC-9E04-481E077E7D33}" dt="2022-07-11T11:18:37.742" v="1468" actId="478"/>
          <ac:spMkLst>
            <pc:docMk/>
            <pc:sldMk cId="2999950534" sldId="294"/>
            <ac:spMk id="14" creationId="{507544EA-6931-2C4A-4FA7-85DC868A0C6D}"/>
          </ac:spMkLst>
        </pc:spChg>
        <pc:spChg chg="add del mod">
          <ac:chgData name="Massimo Alfonzo" userId="cef0ebbf-9067-4a40-8c82-7d97e03714d2" providerId="ADAL" clId="{CE2C85BF-A759-43FC-9E04-481E077E7D33}" dt="2022-07-11T11:17:11.483" v="1339"/>
          <ac:spMkLst>
            <pc:docMk/>
            <pc:sldMk cId="2999950534" sldId="294"/>
            <ac:spMk id="15" creationId="{634BFD1F-1DEA-C013-EDAE-4B7081803036}"/>
          </ac:spMkLst>
        </pc:spChg>
        <pc:spChg chg="add mod">
          <ac:chgData name="Massimo Alfonzo" userId="cef0ebbf-9067-4a40-8c82-7d97e03714d2" providerId="ADAL" clId="{CE2C85BF-A759-43FC-9E04-481E077E7D33}" dt="2022-07-11T12:41:32.823" v="2127" actId="1076"/>
          <ac:spMkLst>
            <pc:docMk/>
            <pc:sldMk cId="2999950534" sldId="294"/>
            <ac:spMk id="16" creationId="{A6FB1C90-9AB8-F03F-95E8-EF354277C3C7}"/>
          </ac:spMkLst>
        </pc:spChg>
        <pc:spChg chg="add mod">
          <ac:chgData name="Massimo Alfonzo" userId="cef0ebbf-9067-4a40-8c82-7d97e03714d2" providerId="ADAL" clId="{CE2C85BF-A759-43FC-9E04-481E077E7D33}" dt="2022-07-11T12:41:37.569" v="2128" actId="1076"/>
          <ac:spMkLst>
            <pc:docMk/>
            <pc:sldMk cId="2999950534" sldId="294"/>
            <ac:spMk id="17" creationId="{F37A495F-D724-7E4D-F457-A1A76FF527B5}"/>
          </ac:spMkLst>
        </pc:spChg>
        <pc:spChg chg="add mod">
          <ac:chgData name="Massimo Alfonzo" userId="cef0ebbf-9067-4a40-8c82-7d97e03714d2" providerId="ADAL" clId="{CE2C85BF-A759-43FC-9E04-481E077E7D33}" dt="2022-07-11T12:42:04.902" v="2158" actId="403"/>
          <ac:spMkLst>
            <pc:docMk/>
            <pc:sldMk cId="2999950534" sldId="294"/>
            <ac:spMk id="18" creationId="{5B412547-2D76-57EE-0BF0-6C8794DC198A}"/>
          </ac:spMkLst>
        </pc:spChg>
        <pc:picChg chg="del">
          <ac:chgData name="Massimo Alfonzo" userId="cef0ebbf-9067-4a40-8c82-7d97e03714d2" providerId="ADAL" clId="{CE2C85BF-A759-43FC-9E04-481E077E7D33}" dt="2022-07-11T11:16:58.051" v="1329" actId="478"/>
          <ac:picMkLst>
            <pc:docMk/>
            <pc:sldMk cId="2999950534" sldId="294"/>
            <ac:picMk id="5" creationId="{7C0E96CF-E869-503E-3AD9-2CAA20B2985D}"/>
          </ac:picMkLst>
        </pc:picChg>
        <pc:picChg chg="add mod">
          <ac:chgData name="Massimo Alfonzo" userId="cef0ebbf-9067-4a40-8c82-7d97e03714d2" providerId="ADAL" clId="{CE2C85BF-A759-43FC-9E04-481E077E7D33}" dt="2022-07-11T11:47:07.884" v="1712" actId="1076"/>
          <ac:picMkLst>
            <pc:docMk/>
            <pc:sldMk cId="2999950534" sldId="294"/>
            <ac:picMk id="7" creationId="{EC9CEAD1-058B-2585-3DA9-595C43B78C26}"/>
          </ac:picMkLst>
        </pc:picChg>
        <pc:picChg chg="del">
          <ac:chgData name="Massimo Alfonzo" userId="cef0ebbf-9067-4a40-8c82-7d97e03714d2" providerId="ADAL" clId="{CE2C85BF-A759-43FC-9E04-481E077E7D33}" dt="2022-07-11T11:16:58.419" v="1330" actId="478"/>
          <ac:picMkLst>
            <pc:docMk/>
            <pc:sldMk cId="2999950534" sldId="294"/>
            <ac:picMk id="9" creationId="{846967B7-83C9-7A75-BED7-77F5CE3AC841}"/>
          </ac:picMkLst>
        </pc:picChg>
        <pc:picChg chg="del">
          <ac:chgData name="Massimo Alfonzo" userId="cef0ebbf-9067-4a40-8c82-7d97e03714d2" providerId="ADAL" clId="{CE2C85BF-A759-43FC-9E04-481E077E7D33}" dt="2022-07-11T11:16:58.933" v="1331" actId="478"/>
          <ac:picMkLst>
            <pc:docMk/>
            <pc:sldMk cId="2999950534" sldId="294"/>
            <ac:picMk id="12" creationId="{15CC479E-4A48-1A53-49FA-5773356DC7CB}"/>
          </ac:picMkLst>
        </pc:picChg>
      </pc:sldChg>
      <pc:sldChg chg="addSp delSp modSp add mod ord">
        <pc:chgData name="Massimo Alfonzo" userId="cef0ebbf-9067-4a40-8c82-7d97e03714d2" providerId="ADAL" clId="{CE2C85BF-A759-43FC-9E04-481E077E7D33}" dt="2022-07-11T11:47:01.364" v="1710"/>
        <pc:sldMkLst>
          <pc:docMk/>
          <pc:sldMk cId="2714229153" sldId="295"/>
        </pc:sldMkLst>
        <pc:spChg chg="mod">
          <ac:chgData name="Massimo Alfonzo" userId="cef0ebbf-9067-4a40-8c82-7d97e03714d2" providerId="ADAL" clId="{CE2C85BF-A759-43FC-9E04-481E077E7D33}" dt="2022-07-11T11:19:52.189" v="1620" actId="20577"/>
          <ac:spMkLst>
            <pc:docMk/>
            <pc:sldMk cId="2714229153" sldId="295"/>
            <ac:spMk id="2" creationId="{C6785AE7-8B00-486C-9A8C-F571C93177E4}"/>
          </ac:spMkLst>
        </pc:spChg>
        <pc:spChg chg="add mod">
          <ac:chgData name="Massimo Alfonzo" userId="cef0ebbf-9067-4a40-8c82-7d97e03714d2" providerId="ADAL" clId="{CE2C85BF-A759-43FC-9E04-481E077E7D33}" dt="2022-07-11T11:20:29.013" v="1628" actId="14100"/>
          <ac:spMkLst>
            <pc:docMk/>
            <pc:sldMk cId="2714229153" sldId="295"/>
            <ac:spMk id="3" creationId="{70252EFB-CEED-BC7F-E131-5FAF403BA306}"/>
          </ac:spMkLst>
        </pc:spChg>
        <pc:spChg chg="del">
          <ac:chgData name="Massimo Alfonzo" userId="cef0ebbf-9067-4a40-8c82-7d97e03714d2" providerId="ADAL" clId="{CE2C85BF-A759-43FC-9E04-481E077E7D33}" dt="2022-07-11T11:19:55.561" v="1624" actId="478"/>
          <ac:spMkLst>
            <pc:docMk/>
            <pc:sldMk cId="2714229153" sldId="295"/>
            <ac:spMk id="8" creationId="{5A043839-8EEE-9A92-888C-D52FC844FEFB}"/>
          </ac:spMkLst>
        </pc:spChg>
        <pc:spChg chg="del mod">
          <ac:chgData name="Massimo Alfonzo" userId="cef0ebbf-9067-4a40-8c82-7d97e03714d2" providerId="ADAL" clId="{CE2C85BF-A759-43FC-9E04-481E077E7D33}" dt="2022-07-11T11:19:54.378" v="1623" actId="478"/>
          <ac:spMkLst>
            <pc:docMk/>
            <pc:sldMk cId="2714229153" sldId="295"/>
            <ac:spMk id="16" creationId="{A6FB1C90-9AB8-F03F-95E8-EF354277C3C7}"/>
          </ac:spMkLst>
        </pc:spChg>
        <pc:picChg chg="del">
          <ac:chgData name="Massimo Alfonzo" userId="cef0ebbf-9067-4a40-8c82-7d97e03714d2" providerId="ADAL" clId="{CE2C85BF-A759-43FC-9E04-481E077E7D33}" dt="2022-07-11T11:19:53.734" v="1621" actId="478"/>
          <ac:picMkLst>
            <pc:docMk/>
            <pc:sldMk cId="2714229153" sldId="295"/>
            <ac:picMk id="7" creationId="{EC9CEAD1-058B-2585-3DA9-595C43B78C26}"/>
          </ac:picMkLst>
        </pc:picChg>
      </pc:sldChg>
      <pc:sldChg chg="addSp modSp mod">
        <pc:chgData name="Massimo Alfonzo" userId="cef0ebbf-9067-4a40-8c82-7d97e03714d2" providerId="ADAL" clId="{CE2C85BF-A759-43FC-9E04-481E077E7D33}" dt="2022-07-11T12:40:53.747" v="2125" actId="1076"/>
        <pc:sldMkLst>
          <pc:docMk/>
          <pc:sldMk cId="3632883391" sldId="296"/>
        </pc:sldMkLst>
        <pc:spChg chg="add mod">
          <ac:chgData name="Massimo Alfonzo" userId="cef0ebbf-9067-4a40-8c82-7d97e03714d2" providerId="ADAL" clId="{CE2C85BF-A759-43FC-9E04-481E077E7D33}" dt="2022-07-11T12:40:53.747" v="2125" actId="1076"/>
          <ac:spMkLst>
            <pc:docMk/>
            <pc:sldMk cId="3632883391" sldId="296"/>
            <ac:spMk id="12" creationId="{FCCECF84-A2CB-2778-9E09-7D530E568229}"/>
          </ac:spMkLst>
        </pc:spChg>
      </pc:sldChg>
      <pc:sldChg chg="modSp add del mod ord modNotesTx">
        <pc:chgData name="Massimo Alfonzo" userId="cef0ebbf-9067-4a40-8c82-7d97e03714d2" providerId="ADAL" clId="{CE2C85BF-A759-43FC-9E04-481E077E7D33}" dt="2022-07-12T19:35:07.933" v="4766"/>
        <pc:sldMkLst>
          <pc:docMk/>
          <pc:sldMk cId="3011129314" sldId="297"/>
        </pc:sldMkLst>
        <pc:spChg chg="mod">
          <ac:chgData name="Massimo Alfonzo" userId="cef0ebbf-9067-4a40-8c82-7d97e03714d2" providerId="ADAL" clId="{CE2C85BF-A759-43FC-9E04-481E077E7D33}" dt="2022-07-12T19:33:46.389" v="4761" actId="20577"/>
          <ac:spMkLst>
            <pc:docMk/>
            <pc:sldMk cId="3011129314" sldId="297"/>
            <ac:spMk id="2" creationId="{00000000-0000-0000-0000-000000000000}"/>
          </ac:spMkLst>
        </pc:spChg>
      </pc:sldChg>
      <pc:sldChg chg="modNotesTx">
        <pc:chgData name="Massimo Alfonzo" userId="cef0ebbf-9067-4a40-8c82-7d97e03714d2" providerId="ADAL" clId="{CE2C85BF-A759-43FC-9E04-481E077E7D33}" dt="2022-07-13T09:57:50.511" v="4823" actId="20577"/>
        <pc:sldMkLst>
          <pc:docMk/>
          <pc:sldMk cId="3843116995" sldId="300"/>
        </pc:sldMkLst>
      </pc:sldChg>
      <pc:sldChg chg="addSp modSp mod modNotesTx">
        <pc:chgData name="Massimo Alfonzo" userId="cef0ebbf-9067-4a40-8c82-7d97e03714d2" providerId="ADAL" clId="{CE2C85BF-A759-43FC-9E04-481E077E7D33}" dt="2022-07-12T19:07:53.785" v="2390" actId="20577"/>
        <pc:sldMkLst>
          <pc:docMk/>
          <pc:sldMk cId="2161304811" sldId="301"/>
        </pc:sldMkLst>
        <pc:spChg chg="add mod">
          <ac:chgData name="Massimo Alfonzo" userId="cef0ebbf-9067-4a40-8c82-7d97e03714d2" providerId="ADAL" clId="{CE2C85BF-A759-43FC-9E04-481E077E7D33}" dt="2022-07-12T19:06:57.279" v="2276" actId="14100"/>
          <ac:spMkLst>
            <pc:docMk/>
            <pc:sldMk cId="2161304811" sldId="301"/>
            <ac:spMk id="17" creationId="{AF0D1A7D-E092-DE22-9E83-0B3B5D5A839F}"/>
          </ac:spMkLst>
        </pc:spChg>
      </pc:sldChg>
      <pc:sldChg chg="addSp modSp mod modNotesTx">
        <pc:chgData name="Massimo Alfonzo" userId="cef0ebbf-9067-4a40-8c82-7d97e03714d2" providerId="ADAL" clId="{CE2C85BF-A759-43FC-9E04-481E077E7D33}" dt="2022-07-13T09:47:16.628" v="4792" actId="14100"/>
        <pc:sldMkLst>
          <pc:docMk/>
          <pc:sldMk cId="3254695870" sldId="302"/>
        </pc:sldMkLst>
        <pc:spChg chg="mod">
          <ac:chgData name="Massimo Alfonzo" userId="cef0ebbf-9067-4a40-8c82-7d97e03714d2" providerId="ADAL" clId="{CE2C85BF-A759-43FC-9E04-481E077E7D33}" dt="2022-07-12T19:01:50.638" v="2202" actId="113"/>
          <ac:spMkLst>
            <pc:docMk/>
            <pc:sldMk cId="3254695870" sldId="302"/>
            <ac:spMk id="3" creationId="{9EE79662-1EEE-A057-ECF0-2D83E145DA24}"/>
          </ac:spMkLst>
        </pc:spChg>
        <pc:spChg chg="mod">
          <ac:chgData name="Massimo Alfonzo" userId="cef0ebbf-9067-4a40-8c82-7d97e03714d2" providerId="ADAL" clId="{CE2C85BF-A759-43FC-9E04-481E077E7D33}" dt="2022-07-13T09:47:16.628" v="4792" actId="14100"/>
          <ac:spMkLst>
            <pc:docMk/>
            <pc:sldMk cId="3254695870" sldId="302"/>
            <ac:spMk id="25" creationId="{CBAB6A8A-CD2D-7875-0C05-6143E17F3369}"/>
          </ac:spMkLst>
        </pc:spChg>
        <pc:spChg chg="mod">
          <ac:chgData name="Massimo Alfonzo" userId="cef0ebbf-9067-4a40-8c82-7d97e03714d2" providerId="ADAL" clId="{CE2C85BF-A759-43FC-9E04-481E077E7D33}" dt="2022-07-12T19:03:06.127" v="2214" actId="113"/>
          <ac:spMkLst>
            <pc:docMk/>
            <pc:sldMk cId="3254695870" sldId="302"/>
            <ac:spMk id="27" creationId="{10D814E3-6970-2D44-D320-E8F52CFE7C25}"/>
          </ac:spMkLst>
        </pc:spChg>
        <pc:grpChg chg="mod">
          <ac:chgData name="Massimo Alfonzo" userId="cef0ebbf-9067-4a40-8c82-7d97e03714d2" providerId="ADAL" clId="{CE2C85BF-A759-43FC-9E04-481E077E7D33}" dt="2022-07-12T19:24:47.970" v="3865" actId="14100"/>
          <ac:grpSpMkLst>
            <pc:docMk/>
            <pc:sldMk cId="3254695870" sldId="302"/>
            <ac:grpSpMk id="61" creationId="{33D4D2B7-27E6-82FE-8E54-C0951D2F64AC}"/>
          </ac:grpSpMkLst>
        </pc:grpChg>
        <pc:picChg chg="add mod modCrop">
          <ac:chgData name="Massimo Alfonzo" userId="cef0ebbf-9067-4a40-8c82-7d97e03714d2" providerId="ADAL" clId="{CE2C85BF-A759-43FC-9E04-481E077E7D33}" dt="2022-07-12T19:17:16.855" v="2857" actId="732"/>
          <ac:picMkLst>
            <pc:docMk/>
            <pc:sldMk cId="3254695870" sldId="302"/>
            <ac:picMk id="7" creationId="{64F660E1-946A-C3D2-81FA-61D2EE4544EA}"/>
          </ac:picMkLst>
        </pc:picChg>
        <pc:picChg chg="add mod">
          <ac:chgData name="Massimo Alfonzo" userId="cef0ebbf-9067-4a40-8c82-7d97e03714d2" providerId="ADAL" clId="{CE2C85BF-A759-43FC-9E04-481E077E7D33}" dt="2022-07-12T19:16:10.084" v="2749" actId="1036"/>
          <ac:picMkLst>
            <pc:docMk/>
            <pc:sldMk cId="3254695870" sldId="302"/>
            <ac:picMk id="11" creationId="{45FEA1F0-E990-A671-CD6E-27C9856B169C}"/>
          </ac:picMkLst>
        </pc:picChg>
        <pc:picChg chg="add mod">
          <ac:chgData name="Massimo Alfonzo" userId="cef0ebbf-9067-4a40-8c82-7d97e03714d2" providerId="ADAL" clId="{CE2C85BF-A759-43FC-9E04-481E077E7D33}" dt="2022-07-12T19:13:53.409" v="2726" actId="1076"/>
          <ac:picMkLst>
            <pc:docMk/>
            <pc:sldMk cId="3254695870" sldId="302"/>
            <ac:picMk id="1026" creationId="{1F05689E-D81B-C90E-5AC2-703ECDD978C5}"/>
          </ac:picMkLst>
        </pc:picChg>
        <pc:picChg chg="mod">
          <ac:chgData name="Massimo Alfonzo" userId="cef0ebbf-9067-4a40-8c82-7d97e03714d2" providerId="ADAL" clId="{CE2C85BF-A759-43FC-9E04-481E077E7D33}" dt="2022-07-12T19:14:00.076" v="2727" actId="1076"/>
          <ac:picMkLst>
            <pc:docMk/>
            <pc:sldMk cId="3254695870" sldId="302"/>
            <ac:picMk id="1030" creationId="{62B1E99A-DD80-DD17-DBFF-DC46C5D7DF22}"/>
          </ac:picMkLst>
        </pc:picChg>
      </pc:sldChg>
      <pc:sldChg chg="addSp delSp modSp mod">
        <pc:chgData name="Massimo Alfonzo" userId="cef0ebbf-9067-4a40-8c82-7d97e03714d2" providerId="ADAL" clId="{CE2C85BF-A759-43FC-9E04-481E077E7D33}" dt="2022-07-13T09:45:16.538" v="4781" actId="14100"/>
        <pc:sldMkLst>
          <pc:docMk/>
          <pc:sldMk cId="2166327355" sldId="305"/>
        </pc:sldMkLst>
        <pc:spChg chg="add mod">
          <ac:chgData name="Massimo Alfonzo" userId="cef0ebbf-9067-4a40-8c82-7d97e03714d2" providerId="ADAL" clId="{CE2C85BF-A759-43FC-9E04-481E077E7D33}" dt="2022-07-13T09:45:16.538" v="4781" actId="14100"/>
          <ac:spMkLst>
            <pc:docMk/>
            <pc:sldMk cId="2166327355" sldId="305"/>
            <ac:spMk id="4" creationId="{061D1708-82D3-8312-5331-03A4917CB451}"/>
          </ac:spMkLst>
        </pc:spChg>
        <pc:picChg chg="add del mod">
          <ac:chgData name="Massimo Alfonzo" userId="cef0ebbf-9067-4a40-8c82-7d97e03714d2" providerId="ADAL" clId="{CE2C85BF-A759-43FC-9E04-481E077E7D33}" dt="2022-07-13T09:44:46.896" v="4773"/>
          <ac:picMkLst>
            <pc:docMk/>
            <pc:sldMk cId="2166327355" sldId="305"/>
            <ac:picMk id="34" creationId="{B206CB97-C6AC-E8E6-6AB0-CC17794218F0}"/>
          </ac:picMkLst>
        </pc:picChg>
      </pc:sldChg>
      <pc:sldChg chg="modSp mod">
        <pc:chgData name="Massimo Alfonzo" userId="cef0ebbf-9067-4a40-8c82-7d97e03714d2" providerId="ADAL" clId="{CE2C85BF-A759-43FC-9E04-481E077E7D33}" dt="2022-07-13T09:50:54.222" v="4796" actId="20577"/>
        <pc:sldMkLst>
          <pc:docMk/>
          <pc:sldMk cId="3971449542" sldId="306"/>
        </pc:sldMkLst>
        <pc:spChg chg="mod">
          <ac:chgData name="Massimo Alfonzo" userId="cef0ebbf-9067-4a40-8c82-7d97e03714d2" providerId="ADAL" clId="{CE2C85BF-A759-43FC-9E04-481E077E7D33}" dt="2022-07-13T09:50:54.222" v="4796" actId="20577"/>
          <ac:spMkLst>
            <pc:docMk/>
            <pc:sldMk cId="3971449542" sldId="306"/>
            <ac:spMk id="34" creationId="{F5912E06-9FE6-5C5D-3619-86BA7FCDC04C}"/>
          </ac:spMkLst>
        </pc:spChg>
      </pc:sldChg>
      <pc:sldChg chg="delSp modSp mod">
        <pc:chgData name="Massimo Alfonzo" userId="cef0ebbf-9067-4a40-8c82-7d97e03714d2" providerId="ADAL" clId="{CE2C85BF-A759-43FC-9E04-481E077E7D33}" dt="2022-07-13T10:44:40.181" v="4897" actId="14100"/>
        <pc:sldMkLst>
          <pc:docMk/>
          <pc:sldMk cId="1919105368" sldId="307"/>
        </pc:sldMkLst>
        <pc:spChg chg="mod">
          <ac:chgData name="Massimo Alfonzo" userId="cef0ebbf-9067-4a40-8c82-7d97e03714d2" providerId="ADAL" clId="{CE2C85BF-A759-43FC-9E04-481E077E7D33}" dt="2022-07-13T10:44:25.064" v="4893" actId="1076"/>
          <ac:spMkLst>
            <pc:docMk/>
            <pc:sldMk cId="1919105368" sldId="307"/>
            <ac:spMk id="25" creationId="{69D96C75-BF63-B6B3-B66B-D9793B689002}"/>
          </ac:spMkLst>
        </pc:spChg>
        <pc:spChg chg="mod">
          <ac:chgData name="Massimo Alfonzo" userId="cef0ebbf-9067-4a40-8c82-7d97e03714d2" providerId="ADAL" clId="{CE2C85BF-A759-43FC-9E04-481E077E7D33}" dt="2022-07-13T10:44:32.304" v="4894" actId="14100"/>
          <ac:spMkLst>
            <pc:docMk/>
            <pc:sldMk cId="1919105368" sldId="307"/>
            <ac:spMk id="26" creationId="{921ED534-E68C-A621-C921-2AEE032B8126}"/>
          </ac:spMkLst>
        </pc:spChg>
        <pc:spChg chg="mod">
          <ac:chgData name="Massimo Alfonzo" userId="cef0ebbf-9067-4a40-8c82-7d97e03714d2" providerId="ADAL" clId="{CE2C85BF-A759-43FC-9E04-481E077E7D33}" dt="2022-07-13T10:44:40.181" v="4897" actId="14100"/>
          <ac:spMkLst>
            <pc:docMk/>
            <pc:sldMk cId="1919105368" sldId="307"/>
            <ac:spMk id="28" creationId="{B078864C-4C78-BB49-AA2E-A25B809D9271}"/>
          </ac:spMkLst>
        </pc:spChg>
        <pc:grpChg chg="mod">
          <ac:chgData name="Massimo Alfonzo" userId="cef0ebbf-9067-4a40-8c82-7d97e03714d2" providerId="ADAL" clId="{CE2C85BF-A759-43FC-9E04-481E077E7D33}" dt="2022-07-13T10:44:25.064" v="4893" actId="1076"/>
          <ac:grpSpMkLst>
            <pc:docMk/>
            <pc:sldMk cId="1919105368" sldId="307"/>
            <ac:grpSpMk id="11" creationId="{49AF99FC-CDEE-0419-C75C-5A4476334A9C}"/>
          </ac:grpSpMkLst>
        </pc:grpChg>
        <pc:grpChg chg="mod">
          <ac:chgData name="Massimo Alfonzo" userId="cef0ebbf-9067-4a40-8c82-7d97e03714d2" providerId="ADAL" clId="{CE2C85BF-A759-43FC-9E04-481E077E7D33}" dt="2022-07-13T10:44:32.304" v="4894" actId="14100"/>
          <ac:grpSpMkLst>
            <pc:docMk/>
            <pc:sldMk cId="1919105368" sldId="307"/>
            <ac:grpSpMk id="15" creationId="{C6528EDE-4862-3509-90ED-3AAC19D7981E}"/>
          </ac:grpSpMkLst>
        </pc:grpChg>
        <pc:grpChg chg="del">
          <ac:chgData name="Massimo Alfonzo" userId="cef0ebbf-9067-4a40-8c82-7d97e03714d2" providerId="ADAL" clId="{CE2C85BF-A759-43FC-9E04-481E077E7D33}" dt="2022-07-13T10:40:15.433" v="4881" actId="478"/>
          <ac:grpSpMkLst>
            <pc:docMk/>
            <pc:sldMk cId="1919105368" sldId="307"/>
            <ac:grpSpMk id="19" creationId="{850FAB1F-AFF4-D6C2-6FCD-DFEF5D5FD749}"/>
          </ac:grpSpMkLst>
        </pc:grpChg>
        <pc:grpChg chg="mod">
          <ac:chgData name="Massimo Alfonzo" userId="cef0ebbf-9067-4a40-8c82-7d97e03714d2" providerId="ADAL" clId="{CE2C85BF-A759-43FC-9E04-481E077E7D33}" dt="2022-07-13T10:44:40.181" v="4897" actId="14100"/>
          <ac:grpSpMkLst>
            <pc:docMk/>
            <pc:sldMk cId="1919105368" sldId="307"/>
            <ac:grpSpMk id="22" creationId="{2CBBE151-03C1-BBFC-DDBC-0E232DF6DD40}"/>
          </ac:grpSpMkLst>
        </pc:grpChg>
        <pc:picChg chg="mod">
          <ac:chgData name="Massimo Alfonzo" userId="cef0ebbf-9067-4a40-8c82-7d97e03714d2" providerId="ADAL" clId="{CE2C85BF-A759-43FC-9E04-481E077E7D33}" dt="2022-07-13T10:44:25.064" v="4893" actId="1076"/>
          <ac:picMkLst>
            <pc:docMk/>
            <pc:sldMk cId="1919105368" sldId="307"/>
            <ac:picMk id="3" creationId="{A6F11EA8-8985-0F08-3610-931242EF4152}"/>
          </ac:picMkLst>
        </pc:picChg>
        <pc:picChg chg="mod">
          <ac:chgData name="Massimo Alfonzo" userId="cef0ebbf-9067-4a40-8c82-7d97e03714d2" providerId="ADAL" clId="{CE2C85BF-A759-43FC-9E04-481E077E7D33}" dt="2022-07-13T10:44:32.304" v="4894" actId="14100"/>
          <ac:picMkLst>
            <pc:docMk/>
            <pc:sldMk cId="1919105368" sldId="307"/>
            <ac:picMk id="27" creationId="{472009A5-CE0C-8616-49F9-36F91BA63FE4}"/>
          </ac:picMkLst>
        </pc:picChg>
        <pc:picChg chg="mod">
          <ac:chgData name="Massimo Alfonzo" userId="cef0ebbf-9067-4a40-8c82-7d97e03714d2" providerId="ADAL" clId="{CE2C85BF-A759-43FC-9E04-481E077E7D33}" dt="2022-07-13T10:44:40.181" v="4897" actId="14100"/>
          <ac:picMkLst>
            <pc:docMk/>
            <pc:sldMk cId="1919105368" sldId="307"/>
            <ac:picMk id="29" creationId="{6A0A8C5A-E130-2C59-3E49-3EB0EB78B67F}"/>
          </ac:picMkLst>
        </pc:picChg>
      </pc:sldChg>
      <pc:sldChg chg="add">
        <pc:chgData name="Massimo Alfonzo" userId="cef0ebbf-9067-4a40-8c82-7d97e03714d2" providerId="ADAL" clId="{CE2C85BF-A759-43FC-9E04-481E077E7D33}" dt="2022-07-13T10:08:53.458" v="4824" actId="2890"/>
        <pc:sldMkLst>
          <pc:docMk/>
          <pc:sldMk cId="251839845" sldId="309"/>
        </pc:sldMkLst>
      </pc:sldChg>
      <pc:sldChg chg="addSp delSp modSp add mod delAnim addCm">
        <pc:chgData name="Massimo Alfonzo" userId="cef0ebbf-9067-4a40-8c82-7d97e03714d2" providerId="ADAL" clId="{CE2C85BF-A759-43FC-9E04-481E077E7D33}" dt="2022-07-13T10:47:11.554" v="4921"/>
        <pc:sldMkLst>
          <pc:docMk/>
          <pc:sldMk cId="4080963039" sldId="309"/>
        </pc:sldMkLst>
        <pc:spChg chg="del">
          <ac:chgData name="Massimo Alfonzo" userId="cef0ebbf-9067-4a40-8c82-7d97e03714d2" providerId="ADAL" clId="{CE2C85BF-A759-43FC-9E04-481E077E7D33}" dt="2022-07-13T10:45:02.948" v="4915" actId="478"/>
          <ac:spMkLst>
            <pc:docMk/>
            <pc:sldMk cId="4080963039" sldId="309"/>
            <ac:spMk id="14" creationId="{7402CE13-2C43-EEDA-F037-A2D8061A045A}"/>
          </ac:spMkLst>
        </pc:spChg>
        <pc:spChg chg="mod">
          <ac:chgData name="Massimo Alfonzo" userId="cef0ebbf-9067-4a40-8c82-7d97e03714d2" providerId="ADAL" clId="{CE2C85BF-A759-43FC-9E04-481E077E7D33}" dt="2022-07-13T10:44:56.177" v="4913" actId="20577"/>
          <ac:spMkLst>
            <pc:docMk/>
            <pc:sldMk cId="4080963039" sldId="309"/>
            <ac:spMk id="15" creationId="{253FA75F-C051-A02C-DD23-8EAA75E02D90}"/>
          </ac:spMkLst>
        </pc:spChg>
        <pc:spChg chg="del">
          <ac:chgData name="Massimo Alfonzo" userId="cef0ebbf-9067-4a40-8c82-7d97e03714d2" providerId="ADAL" clId="{CE2C85BF-A759-43FC-9E04-481E077E7D33}" dt="2022-07-13T10:45:01.315" v="4914" actId="478"/>
          <ac:spMkLst>
            <pc:docMk/>
            <pc:sldMk cId="4080963039" sldId="309"/>
            <ac:spMk id="23" creationId="{D6C73DB3-4EA7-199E-7C85-9CD874AF1263}"/>
          </ac:spMkLst>
        </pc:spChg>
        <pc:spChg chg="del">
          <ac:chgData name="Massimo Alfonzo" userId="cef0ebbf-9067-4a40-8c82-7d97e03714d2" providerId="ADAL" clId="{CE2C85BF-A759-43FC-9E04-481E077E7D33}" dt="2022-07-13T10:45:02.948" v="4915" actId="478"/>
          <ac:spMkLst>
            <pc:docMk/>
            <pc:sldMk cId="4080963039" sldId="309"/>
            <ac:spMk id="27" creationId="{60FB3311-F391-EAC8-FEF1-AD6DDDB92B45}"/>
          </ac:spMkLst>
        </pc:spChg>
        <pc:spChg chg="del">
          <ac:chgData name="Massimo Alfonzo" userId="cef0ebbf-9067-4a40-8c82-7d97e03714d2" providerId="ADAL" clId="{CE2C85BF-A759-43FC-9E04-481E077E7D33}" dt="2022-07-13T10:45:02.948" v="4915" actId="478"/>
          <ac:spMkLst>
            <pc:docMk/>
            <pc:sldMk cId="4080963039" sldId="309"/>
            <ac:spMk id="28" creationId="{20ED1EB3-0BDE-4EA9-2F97-EB4E89A28440}"/>
          </ac:spMkLst>
        </pc:spChg>
        <pc:spChg chg="del">
          <ac:chgData name="Massimo Alfonzo" userId="cef0ebbf-9067-4a40-8c82-7d97e03714d2" providerId="ADAL" clId="{CE2C85BF-A759-43FC-9E04-481E077E7D33}" dt="2022-07-13T10:45:02.948" v="4915" actId="478"/>
          <ac:spMkLst>
            <pc:docMk/>
            <pc:sldMk cId="4080963039" sldId="309"/>
            <ac:spMk id="30" creationId="{DB10F60E-1C6A-B6B5-7D1F-590201FF60B2}"/>
          </ac:spMkLst>
        </pc:spChg>
        <pc:picChg chg="add mod">
          <ac:chgData name="Massimo Alfonzo" userId="cef0ebbf-9067-4a40-8c82-7d97e03714d2" providerId="ADAL" clId="{CE2C85BF-A759-43FC-9E04-481E077E7D33}" dt="2022-07-13T10:45:39.068" v="4918" actId="1076"/>
          <ac:picMkLst>
            <pc:docMk/>
            <pc:sldMk cId="4080963039" sldId="309"/>
            <ac:picMk id="3" creationId="{11E54E3B-C7F1-42C7-48A2-96AFA9C158A1}"/>
          </ac:picMkLst>
        </pc:picChg>
        <pc:picChg chg="add mod">
          <ac:chgData name="Massimo Alfonzo" userId="cef0ebbf-9067-4a40-8c82-7d97e03714d2" providerId="ADAL" clId="{CE2C85BF-A759-43FC-9E04-481E077E7D33}" dt="2022-07-13T10:45:59.394" v="4920" actId="1076"/>
          <ac:picMkLst>
            <pc:docMk/>
            <pc:sldMk cId="4080963039" sldId="309"/>
            <ac:picMk id="7" creationId="{A12EBBF2-2CE6-667F-8CB8-9755BD3298DC}"/>
          </ac:picMkLst>
        </pc:picChg>
        <pc:picChg chg="del">
          <ac:chgData name="Massimo Alfonzo" userId="cef0ebbf-9067-4a40-8c82-7d97e03714d2" providerId="ADAL" clId="{CE2C85BF-A759-43FC-9E04-481E077E7D33}" dt="2022-07-13T10:45:01.315" v="4914" actId="478"/>
          <ac:picMkLst>
            <pc:docMk/>
            <pc:sldMk cId="4080963039" sldId="309"/>
            <ac:picMk id="20" creationId="{65A674C6-8680-649A-3AD3-DC03592A4C16}"/>
          </ac:picMkLst>
        </pc:picChg>
        <pc:picChg chg="del">
          <ac:chgData name="Massimo Alfonzo" userId="cef0ebbf-9067-4a40-8c82-7d97e03714d2" providerId="ADAL" clId="{CE2C85BF-A759-43FC-9E04-481E077E7D33}" dt="2022-07-13T10:45:02.948" v="4915" actId="478"/>
          <ac:picMkLst>
            <pc:docMk/>
            <pc:sldMk cId="4080963039" sldId="309"/>
            <ac:picMk id="26" creationId="{38C215CC-8724-C04E-21A5-4AAEBBA257B2}"/>
          </ac:picMkLst>
        </pc:picChg>
      </pc:sldChg>
    </pc:docChg>
  </pc:docChgLst>
  <pc:docChgLst>
    <pc:chgData name="Chloé Julie Charlotte Canavate" userId="a7bbf622-9e81-474e-9095-9598add3c9d2" providerId="ADAL" clId="{3125018F-0847-4360-889A-A6396523E99E}"/>
    <pc:docChg chg="undo redo custSel addSld delSld modSld sldOrd modMainMaster">
      <pc:chgData name="Chloé Julie Charlotte Canavate" userId="a7bbf622-9e81-474e-9095-9598add3c9d2" providerId="ADAL" clId="{3125018F-0847-4360-889A-A6396523E99E}" dt="2022-07-14T05:26:51.093" v="3948"/>
      <pc:docMkLst>
        <pc:docMk/>
      </pc:docMkLst>
      <pc:sldChg chg="modSp mod">
        <pc:chgData name="Chloé Julie Charlotte Canavate" userId="a7bbf622-9e81-474e-9095-9598add3c9d2" providerId="ADAL" clId="{3125018F-0847-4360-889A-A6396523E99E}" dt="2022-07-12T09:25:29.167" v="101" actId="20577"/>
        <pc:sldMkLst>
          <pc:docMk/>
          <pc:sldMk cId="223892638" sldId="257"/>
        </pc:sldMkLst>
        <pc:spChg chg="mod">
          <ac:chgData name="Chloé Julie Charlotte Canavate" userId="a7bbf622-9e81-474e-9095-9598add3c9d2" providerId="ADAL" clId="{3125018F-0847-4360-889A-A6396523E99E}" dt="2022-07-12T09:25:29.167" v="101" actId="20577"/>
          <ac:spMkLst>
            <pc:docMk/>
            <pc:sldMk cId="223892638" sldId="257"/>
            <ac:spMk id="11" creationId="{00000000-0000-0000-0000-000000000000}"/>
          </ac:spMkLst>
        </pc:spChg>
      </pc:sldChg>
      <pc:sldChg chg="delSp modSp mod ord modShow">
        <pc:chgData name="Chloé Julie Charlotte Canavate" userId="a7bbf622-9e81-474e-9095-9598add3c9d2" providerId="ADAL" clId="{3125018F-0847-4360-889A-A6396523E99E}" dt="2022-07-12T10:14:07.474" v="494"/>
        <pc:sldMkLst>
          <pc:docMk/>
          <pc:sldMk cId="3383649683" sldId="258"/>
        </pc:sldMkLst>
        <pc:spChg chg="del mod">
          <ac:chgData name="Chloé Julie Charlotte Canavate" userId="a7bbf622-9e81-474e-9095-9598add3c9d2" providerId="ADAL" clId="{3125018F-0847-4360-889A-A6396523E99E}" dt="2022-07-12T09:24:34.154" v="86"/>
          <ac:spMkLst>
            <pc:docMk/>
            <pc:sldMk cId="3383649683" sldId="258"/>
            <ac:spMk id="28" creationId="{742ADC04-85B2-49D3-9586-C7FE12680E72}"/>
          </ac:spMkLst>
        </pc:spChg>
        <pc:grpChg chg="mod">
          <ac:chgData name="Chloé Julie Charlotte Canavate" userId="a7bbf622-9e81-474e-9095-9598add3c9d2" providerId="ADAL" clId="{3125018F-0847-4360-889A-A6396523E99E}" dt="2022-07-12T09:53:04.270" v="345" actId="1076"/>
          <ac:grpSpMkLst>
            <pc:docMk/>
            <pc:sldMk cId="3383649683" sldId="258"/>
            <ac:grpSpMk id="37" creationId="{0E9CB03F-D6EC-4C7C-94EA-303A9BA7E644}"/>
          </ac:grpSpMkLst>
        </pc:grpChg>
        <pc:grpChg chg="del">
          <ac:chgData name="Chloé Julie Charlotte Canavate" userId="a7bbf622-9e81-474e-9095-9598add3c9d2" providerId="ADAL" clId="{3125018F-0847-4360-889A-A6396523E99E}" dt="2022-07-12T09:32:01.267" v="130" actId="478"/>
          <ac:grpSpMkLst>
            <pc:docMk/>
            <pc:sldMk cId="3383649683" sldId="258"/>
            <ac:grpSpMk id="53" creationId="{9C29B757-4D8E-444C-87C4-72BAD012ABC7}"/>
          </ac:grpSpMkLst>
        </pc:grpChg>
      </pc:sldChg>
      <pc:sldChg chg="delSp modSp mod">
        <pc:chgData name="Chloé Julie Charlotte Canavate" userId="a7bbf622-9e81-474e-9095-9598add3c9d2" providerId="ADAL" clId="{3125018F-0847-4360-889A-A6396523E99E}" dt="2022-07-12T11:47:37.501" v="1771" actId="1076"/>
        <pc:sldMkLst>
          <pc:docMk/>
          <pc:sldMk cId="1386269732" sldId="259"/>
        </pc:sldMkLst>
        <pc:spChg chg="del mod">
          <ac:chgData name="Chloé Julie Charlotte Canavate" userId="a7bbf622-9e81-474e-9095-9598add3c9d2" providerId="ADAL" clId="{3125018F-0847-4360-889A-A6396523E99E}" dt="2022-07-12T09:25:41.368" v="104"/>
          <ac:spMkLst>
            <pc:docMk/>
            <pc:sldMk cId="1386269732" sldId="259"/>
            <ac:spMk id="4" creationId="{32E8DF3F-D925-42CD-B051-416D48B5DF10}"/>
          </ac:spMkLst>
        </pc:spChg>
        <pc:spChg chg="del">
          <ac:chgData name="Chloé Julie Charlotte Canavate" userId="a7bbf622-9e81-474e-9095-9598add3c9d2" providerId="ADAL" clId="{3125018F-0847-4360-889A-A6396523E99E}" dt="2022-07-12T11:45:08.460" v="1758" actId="21"/>
          <ac:spMkLst>
            <pc:docMk/>
            <pc:sldMk cId="1386269732" sldId="259"/>
            <ac:spMk id="10" creationId="{03C5353F-CF01-DDC7-59A8-BB6D79053932}"/>
          </ac:spMkLst>
        </pc:spChg>
        <pc:spChg chg="mod">
          <ac:chgData name="Chloé Julie Charlotte Canavate" userId="a7bbf622-9e81-474e-9095-9598add3c9d2" providerId="ADAL" clId="{3125018F-0847-4360-889A-A6396523E99E}" dt="2022-07-12T11:46:57.989" v="1767" actId="1076"/>
          <ac:spMkLst>
            <pc:docMk/>
            <pc:sldMk cId="1386269732" sldId="259"/>
            <ac:spMk id="17" creationId="{2A494FAE-5EFA-D3A9-A9D9-FD59F1525BE7}"/>
          </ac:spMkLst>
        </pc:spChg>
        <pc:spChg chg="mod">
          <ac:chgData name="Chloé Julie Charlotte Canavate" userId="a7bbf622-9e81-474e-9095-9598add3c9d2" providerId="ADAL" clId="{3125018F-0847-4360-889A-A6396523E99E}" dt="2022-07-12T11:46:21.589" v="1762" actId="1076"/>
          <ac:spMkLst>
            <pc:docMk/>
            <pc:sldMk cId="1386269732" sldId="259"/>
            <ac:spMk id="23" creationId="{A0415958-2F58-2656-516E-205132EBA3C0}"/>
          </ac:spMkLst>
        </pc:spChg>
        <pc:spChg chg="mod">
          <ac:chgData name="Chloé Julie Charlotte Canavate" userId="a7bbf622-9e81-474e-9095-9598add3c9d2" providerId="ADAL" clId="{3125018F-0847-4360-889A-A6396523E99E}" dt="2022-07-12T11:47:25.230" v="1770" actId="1076"/>
          <ac:spMkLst>
            <pc:docMk/>
            <pc:sldMk cId="1386269732" sldId="259"/>
            <ac:spMk id="24" creationId="{6D445BB5-DB5D-9D69-AE05-EA6BFAB67614}"/>
          </ac:spMkLst>
        </pc:spChg>
        <pc:spChg chg="mod">
          <ac:chgData name="Chloé Julie Charlotte Canavate" userId="a7bbf622-9e81-474e-9095-9598add3c9d2" providerId="ADAL" clId="{3125018F-0847-4360-889A-A6396523E99E}" dt="2022-07-12T11:47:25.230" v="1770" actId="1076"/>
          <ac:spMkLst>
            <pc:docMk/>
            <pc:sldMk cId="1386269732" sldId="259"/>
            <ac:spMk id="25" creationId="{AC082C69-41D1-E487-0743-04825B1EF635}"/>
          </ac:spMkLst>
        </pc:spChg>
        <pc:spChg chg="mod">
          <ac:chgData name="Chloé Julie Charlotte Canavate" userId="a7bbf622-9e81-474e-9095-9598add3c9d2" providerId="ADAL" clId="{3125018F-0847-4360-889A-A6396523E99E}" dt="2022-07-12T11:47:15.062" v="1769" actId="1076"/>
          <ac:spMkLst>
            <pc:docMk/>
            <pc:sldMk cId="1386269732" sldId="259"/>
            <ac:spMk id="26" creationId="{04F16805-F552-D078-5ECC-88A64429556A}"/>
          </ac:spMkLst>
        </pc:spChg>
        <pc:spChg chg="mod">
          <ac:chgData name="Chloé Julie Charlotte Canavate" userId="a7bbf622-9e81-474e-9095-9598add3c9d2" providerId="ADAL" clId="{3125018F-0847-4360-889A-A6396523E99E}" dt="2022-07-12T11:46:53.461" v="1765" actId="1076"/>
          <ac:spMkLst>
            <pc:docMk/>
            <pc:sldMk cId="1386269732" sldId="259"/>
            <ac:spMk id="29" creationId="{4BC6238C-2C30-AAD8-A34F-D75577A97C9E}"/>
          </ac:spMkLst>
        </pc:spChg>
        <pc:spChg chg="del">
          <ac:chgData name="Chloé Julie Charlotte Canavate" userId="a7bbf622-9e81-474e-9095-9598add3c9d2" providerId="ADAL" clId="{3125018F-0847-4360-889A-A6396523E99E}" dt="2022-07-12T11:45:08.460" v="1758" actId="21"/>
          <ac:spMkLst>
            <pc:docMk/>
            <pc:sldMk cId="1386269732" sldId="259"/>
            <ac:spMk id="57" creationId="{49869AC9-022B-7002-E783-68C0DC3077DF}"/>
          </ac:spMkLst>
        </pc:spChg>
        <pc:spChg chg="del mod">
          <ac:chgData name="Chloé Julie Charlotte Canavate" userId="a7bbf622-9e81-474e-9095-9598add3c9d2" providerId="ADAL" clId="{3125018F-0847-4360-889A-A6396523E99E}" dt="2022-07-12T11:45:08.460" v="1758" actId="21"/>
          <ac:spMkLst>
            <pc:docMk/>
            <pc:sldMk cId="1386269732" sldId="259"/>
            <ac:spMk id="60" creationId="{567B0282-874E-788C-8F87-F81B066CC8C9}"/>
          </ac:spMkLst>
        </pc:spChg>
        <pc:spChg chg="mod">
          <ac:chgData name="Chloé Julie Charlotte Canavate" userId="a7bbf622-9e81-474e-9095-9598add3c9d2" providerId="ADAL" clId="{3125018F-0847-4360-889A-A6396523E99E}" dt="2022-07-12T11:47:37.501" v="1771" actId="1076"/>
          <ac:spMkLst>
            <pc:docMk/>
            <pc:sldMk cId="1386269732" sldId="259"/>
            <ac:spMk id="78" creationId="{DAA8AF87-948A-4B7D-8326-CEACC6C495DF}"/>
          </ac:spMkLst>
        </pc:spChg>
        <pc:picChg chg="mod">
          <ac:chgData name="Chloé Julie Charlotte Canavate" userId="a7bbf622-9e81-474e-9095-9598add3c9d2" providerId="ADAL" clId="{3125018F-0847-4360-889A-A6396523E99E}" dt="2022-07-12T11:46:21.589" v="1762" actId="1076"/>
          <ac:picMkLst>
            <pc:docMk/>
            <pc:sldMk cId="1386269732" sldId="259"/>
            <ac:picMk id="5" creationId="{57741D99-2FD0-51BC-2A1C-660A68FEF407}"/>
          </ac:picMkLst>
        </pc:picChg>
        <pc:picChg chg="mod">
          <ac:chgData name="Chloé Julie Charlotte Canavate" userId="a7bbf622-9e81-474e-9095-9598add3c9d2" providerId="ADAL" clId="{3125018F-0847-4360-889A-A6396523E99E}" dt="2022-07-12T11:47:15.062" v="1769" actId="1076"/>
          <ac:picMkLst>
            <pc:docMk/>
            <pc:sldMk cId="1386269732" sldId="259"/>
            <ac:picMk id="8" creationId="{5209B62D-1126-F647-586D-1872F15AD18B}"/>
          </ac:picMkLst>
        </pc:picChg>
        <pc:picChg chg="mod">
          <ac:chgData name="Chloé Julie Charlotte Canavate" userId="a7bbf622-9e81-474e-9095-9598add3c9d2" providerId="ADAL" clId="{3125018F-0847-4360-889A-A6396523E99E}" dt="2022-07-12T11:46:21.589" v="1762" actId="1076"/>
          <ac:picMkLst>
            <pc:docMk/>
            <pc:sldMk cId="1386269732" sldId="259"/>
            <ac:picMk id="9" creationId="{1D3D2B5C-B043-A24C-D9BC-85C939820439}"/>
          </ac:picMkLst>
        </pc:picChg>
        <pc:picChg chg="mod">
          <ac:chgData name="Chloé Julie Charlotte Canavate" userId="a7bbf622-9e81-474e-9095-9598add3c9d2" providerId="ADAL" clId="{3125018F-0847-4360-889A-A6396523E99E}" dt="2022-07-12T11:47:25.230" v="1770" actId="1076"/>
          <ac:picMkLst>
            <pc:docMk/>
            <pc:sldMk cId="1386269732" sldId="259"/>
            <ac:picMk id="12" creationId="{C8A888BC-DE60-B07D-64FF-89A8D36D8A59}"/>
          </ac:picMkLst>
        </pc:picChg>
        <pc:picChg chg="mod">
          <ac:chgData name="Chloé Julie Charlotte Canavate" userId="a7bbf622-9e81-474e-9095-9598add3c9d2" providerId="ADAL" clId="{3125018F-0847-4360-889A-A6396523E99E}" dt="2022-07-12T11:47:25.230" v="1770" actId="1076"/>
          <ac:picMkLst>
            <pc:docMk/>
            <pc:sldMk cId="1386269732" sldId="259"/>
            <ac:picMk id="18" creationId="{B08F49E0-B76D-D659-0E92-41CD9603C2F9}"/>
          </ac:picMkLst>
        </pc:picChg>
        <pc:picChg chg="mod">
          <ac:chgData name="Chloé Julie Charlotte Canavate" userId="a7bbf622-9e81-474e-9095-9598add3c9d2" providerId="ADAL" clId="{3125018F-0847-4360-889A-A6396523E99E}" dt="2022-07-12T11:46:53.461" v="1765" actId="1076"/>
          <ac:picMkLst>
            <pc:docMk/>
            <pc:sldMk cId="1386269732" sldId="259"/>
            <ac:picMk id="20" creationId="{9BDD628D-3440-21E8-C9CF-F11FEABFD7FA}"/>
          </ac:picMkLst>
        </pc:picChg>
        <pc:picChg chg="del">
          <ac:chgData name="Chloé Julie Charlotte Canavate" userId="a7bbf622-9e81-474e-9095-9598add3c9d2" providerId="ADAL" clId="{3125018F-0847-4360-889A-A6396523E99E}" dt="2022-07-12T11:45:08.460" v="1758" actId="21"/>
          <ac:picMkLst>
            <pc:docMk/>
            <pc:sldMk cId="1386269732" sldId="259"/>
            <ac:picMk id="1026" creationId="{5CF13213-0F90-485F-7E93-46B8E2BEBC63}"/>
          </ac:picMkLst>
        </pc:picChg>
        <pc:inkChg chg="del">
          <ac:chgData name="Chloé Julie Charlotte Canavate" userId="a7bbf622-9e81-474e-9095-9598add3c9d2" providerId="ADAL" clId="{3125018F-0847-4360-889A-A6396523E99E}" dt="2022-07-12T11:45:08.460" v="1758" actId="21"/>
          <ac:inkMkLst>
            <pc:docMk/>
            <pc:sldMk cId="1386269732" sldId="259"/>
            <ac:inkMk id="3" creationId="{37D7370F-92E9-86B0-43AB-B6420EA4D70C}"/>
          </ac:inkMkLst>
        </pc:inkChg>
        <pc:inkChg chg="del">
          <ac:chgData name="Chloé Julie Charlotte Canavate" userId="a7bbf622-9e81-474e-9095-9598add3c9d2" providerId="ADAL" clId="{3125018F-0847-4360-889A-A6396523E99E}" dt="2022-07-12T11:45:08.460" v="1758" actId="21"/>
          <ac:inkMkLst>
            <pc:docMk/>
            <pc:sldMk cId="1386269732" sldId="259"/>
            <ac:inkMk id="7" creationId="{73FE1789-8520-8BF8-9401-0CCF103DD9A6}"/>
          </ac:inkMkLst>
        </pc:inkChg>
        <pc:inkChg chg="del">
          <ac:chgData name="Chloé Julie Charlotte Canavate" userId="a7bbf622-9e81-474e-9095-9598add3c9d2" providerId="ADAL" clId="{3125018F-0847-4360-889A-A6396523E99E}" dt="2022-07-12T11:45:08.460" v="1758" actId="21"/>
          <ac:inkMkLst>
            <pc:docMk/>
            <pc:sldMk cId="1386269732" sldId="259"/>
            <ac:inkMk id="16" creationId="{AD8290DF-8142-09FA-F669-EEB66098A9DB}"/>
          </ac:inkMkLst>
        </pc:inkChg>
      </pc:sldChg>
      <pc:sldChg chg="addSp delSp modSp mod ord modAnim modShow">
        <pc:chgData name="Chloé Julie Charlotte Canavate" userId="a7bbf622-9e81-474e-9095-9598add3c9d2" providerId="ADAL" clId="{3125018F-0847-4360-889A-A6396523E99E}" dt="2022-07-13T09:46:01.894" v="3936" actId="729"/>
        <pc:sldMkLst>
          <pc:docMk/>
          <pc:sldMk cId="3922913386" sldId="262"/>
        </pc:sldMkLst>
        <pc:spChg chg="mod">
          <ac:chgData name="Chloé Julie Charlotte Canavate" userId="a7bbf622-9e81-474e-9095-9598add3c9d2" providerId="ADAL" clId="{3125018F-0847-4360-889A-A6396523E99E}" dt="2022-07-13T09:36:00.610" v="3935" actId="20577"/>
          <ac:spMkLst>
            <pc:docMk/>
            <pc:sldMk cId="3922913386" sldId="262"/>
            <ac:spMk id="2" creationId="{C6785AE7-8B00-486C-9A8C-F571C93177E4}"/>
          </ac:spMkLst>
        </pc:spChg>
        <pc:spChg chg="del">
          <ac:chgData name="Chloé Julie Charlotte Canavate" userId="a7bbf622-9e81-474e-9095-9598add3c9d2" providerId="ADAL" clId="{3125018F-0847-4360-889A-A6396523E99E}" dt="2022-07-12T09:11:57.337" v="40" actId="478"/>
          <ac:spMkLst>
            <pc:docMk/>
            <pc:sldMk cId="3922913386" sldId="262"/>
            <ac:spMk id="3" creationId="{24AC7FCD-64F5-FA7E-9B1A-628A0C1D8725}"/>
          </ac:spMkLst>
        </pc:spChg>
        <pc:spChg chg="del">
          <ac:chgData name="Chloé Julie Charlotte Canavate" userId="a7bbf622-9e81-474e-9095-9598add3c9d2" providerId="ADAL" clId="{3125018F-0847-4360-889A-A6396523E99E}" dt="2022-07-12T09:27:03.875" v="116" actId="478"/>
          <ac:spMkLst>
            <pc:docMk/>
            <pc:sldMk cId="3922913386" sldId="262"/>
            <ac:spMk id="4" creationId="{32E8DF3F-D925-42CD-B051-416D48B5DF10}"/>
          </ac:spMkLst>
        </pc:spChg>
        <pc:spChg chg="del">
          <ac:chgData name="Chloé Julie Charlotte Canavate" userId="a7bbf622-9e81-474e-9095-9598add3c9d2" providerId="ADAL" clId="{3125018F-0847-4360-889A-A6396523E99E}" dt="2022-07-12T09:12:08.967" v="43" actId="478"/>
          <ac:spMkLst>
            <pc:docMk/>
            <pc:sldMk cId="3922913386" sldId="262"/>
            <ac:spMk id="8" creationId="{064619EE-A370-68AB-4517-2EDBA2701AB6}"/>
          </ac:spMkLst>
        </pc:spChg>
        <pc:picChg chg="add mod modCrop">
          <ac:chgData name="Chloé Julie Charlotte Canavate" userId="a7bbf622-9e81-474e-9095-9598add3c9d2" providerId="ADAL" clId="{3125018F-0847-4360-889A-A6396523E99E}" dt="2022-07-12T09:16:05.373" v="56" actId="1035"/>
          <ac:picMkLst>
            <pc:docMk/>
            <pc:sldMk cId="3922913386" sldId="262"/>
            <ac:picMk id="6" creationId="{3568EA80-EBCB-DBAC-B8A9-88D0954DEB48}"/>
          </ac:picMkLst>
        </pc:picChg>
        <pc:picChg chg="del">
          <ac:chgData name="Chloé Julie Charlotte Canavate" userId="a7bbf622-9e81-474e-9095-9598add3c9d2" providerId="ADAL" clId="{3125018F-0847-4360-889A-A6396523E99E}" dt="2022-07-12T09:11:57.337" v="40" actId="478"/>
          <ac:picMkLst>
            <pc:docMk/>
            <pc:sldMk cId="3922913386" sldId="262"/>
            <ac:picMk id="7" creationId="{2BCA9189-98B3-975E-7B8D-849ABCA1CAAE}"/>
          </ac:picMkLst>
        </pc:picChg>
        <pc:picChg chg="del">
          <ac:chgData name="Chloé Julie Charlotte Canavate" userId="a7bbf622-9e81-474e-9095-9598add3c9d2" providerId="ADAL" clId="{3125018F-0847-4360-889A-A6396523E99E}" dt="2022-07-12T09:11:57.337" v="40" actId="478"/>
          <ac:picMkLst>
            <pc:docMk/>
            <pc:sldMk cId="3922913386" sldId="262"/>
            <ac:picMk id="9" creationId="{2BD98B9E-59E3-239A-1267-B5A0732A62B9}"/>
          </ac:picMkLst>
        </pc:picChg>
        <pc:picChg chg="del">
          <ac:chgData name="Chloé Julie Charlotte Canavate" userId="a7bbf622-9e81-474e-9095-9598add3c9d2" providerId="ADAL" clId="{3125018F-0847-4360-889A-A6396523E99E}" dt="2022-07-12T09:12:07.074" v="42" actId="478"/>
          <ac:picMkLst>
            <pc:docMk/>
            <pc:sldMk cId="3922913386" sldId="262"/>
            <ac:picMk id="11" creationId="{923F020C-41CB-F1CC-5370-D2106986A430}"/>
          </ac:picMkLst>
        </pc:picChg>
        <pc:cxnChg chg="del">
          <ac:chgData name="Chloé Julie Charlotte Canavate" userId="a7bbf622-9e81-474e-9095-9598add3c9d2" providerId="ADAL" clId="{3125018F-0847-4360-889A-A6396523E99E}" dt="2022-07-12T09:11:57.337" v="40" actId="478"/>
          <ac:cxnSpMkLst>
            <pc:docMk/>
            <pc:sldMk cId="3922913386" sldId="262"/>
            <ac:cxnSpMk id="10" creationId="{FD452BBC-896C-3C6B-E8CC-3A99F4903F59}"/>
          </ac:cxnSpMkLst>
        </pc:cxnChg>
      </pc:sldChg>
      <pc:sldChg chg="delSp modSp mod ord modShow">
        <pc:chgData name="Chloé Julie Charlotte Canavate" userId="a7bbf622-9e81-474e-9095-9598add3c9d2" providerId="ADAL" clId="{3125018F-0847-4360-889A-A6396523E99E}" dt="2022-07-12T12:28:01.178" v="2534" actId="729"/>
        <pc:sldMkLst>
          <pc:docMk/>
          <pc:sldMk cId="3791195039" sldId="263"/>
        </pc:sldMkLst>
        <pc:spChg chg="del mod">
          <ac:chgData name="Chloé Julie Charlotte Canavate" userId="a7bbf622-9e81-474e-9095-9598add3c9d2" providerId="ADAL" clId="{3125018F-0847-4360-889A-A6396523E99E}" dt="2022-07-12T09:26:39.992" v="114" actId="478"/>
          <ac:spMkLst>
            <pc:docMk/>
            <pc:sldMk cId="3791195039" sldId="263"/>
            <ac:spMk id="4" creationId="{32E8DF3F-D925-42CD-B051-416D48B5DF10}"/>
          </ac:spMkLst>
        </pc:spChg>
      </pc:sldChg>
      <pc:sldChg chg="addSp delSp modSp mod ord modShow">
        <pc:chgData name="Chloé Julie Charlotte Canavate" userId="a7bbf622-9e81-474e-9095-9598add3c9d2" providerId="ADAL" clId="{3125018F-0847-4360-889A-A6396523E99E}" dt="2022-07-12T14:23:35.455" v="3910" actId="1076"/>
        <pc:sldMkLst>
          <pc:docMk/>
          <pc:sldMk cId="1320313918" sldId="265"/>
        </pc:sldMkLst>
        <pc:spChg chg="mod">
          <ac:chgData name="Chloé Julie Charlotte Canavate" userId="a7bbf622-9e81-474e-9095-9598add3c9d2" providerId="ADAL" clId="{3125018F-0847-4360-889A-A6396523E99E}" dt="2022-07-12T14:23:34.237" v="3909" actId="1076"/>
          <ac:spMkLst>
            <pc:docMk/>
            <pc:sldMk cId="1320313918" sldId="265"/>
            <ac:spMk id="2" creationId="{C6785AE7-8B00-486C-9A8C-F571C93177E4}"/>
          </ac:spMkLst>
        </pc:spChg>
        <pc:spChg chg="add del">
          <ac:chgData name="Chloé Julie Charlotte Canavate" userId="a7bbf622-9e81-474e-9095-9598add3c9d2" providerId="ADAL" clId="{3125018F-0847-4360-889A-A6396523E99E}" dt="2022-07-12T12:30:55.987" v="2550" actId="478"/>
          <ac:spMkLst>
            <pc:docMk/>
            <pc:sldMk cId="1320313918" sldId="265"/>
            <ac:spMk id="3" creationId="{8CA18FB0-F001-238D-0F34-6DAA35C68A08}"/>
          </ac:spMkLst>
        </pc:spChg>
        <pc:spChg chg="del">
          <ac:chgData name="Chloé Julie Charlotte Canavate" userId="a7bbf622-9e81-474e-9095-9598add3c9d2" providerId="ADAL" clId="{3125018F-0847-4360-889A-A6396523E99E}" dt="2022-07-12T09:26:53.453" v="115" actId="478"/>
          <ac:spMkLst>
            <pc:docMk/>
            <pc:sldMk cId="1320313918" sldId="265"/>
            <ac:spMk id="4" creationId="{32E8DF3F-D925-42CD-B051-416D48B5DF10}"/>
          </ac:spMkLst>
        </pc:spChg>
        <pc:spChg chg="add mod">
          <ac:chgData name="Chloé Julie Charlotte Canavate" userId="a7bbf622-9e81-474e-9095-9598add3c9d2" providerId="ADAL" clId="{3125018F-0847-4360-889A-A6396523E99E}" dt="2022-07-12T11:45:14.465" v="1759"/>
          <ac:spMkLst>
            <pc:docMk/>
            <pc:sldMk cId="1320313918" sldId="265"/>
            <ac:spMk id="9" creationId="{52B19294-94D7-B587-3BA9-568E34428737}"/>
          </ac:spMkLst>
        </pc:spChg>
        <pc:spChg chg="add mod">
          <ac:chgData name="Chloé Julie Charlotte Canavate" userId="a7bbf622-9e81-474e-9095-9598add3c9d2" providerId="ADAL" clId="{3125018F-0847-4360-889A-A6396523E99E}" dt="2022-07-12T11:45:14.465" v="1759"/>
          <ac:spMkLst>
            <pc:docMk/>
            <pc:sldMk cId="1320313918" sldId="265"/>
            <ac:spMk id="10" creationId="{9529667F-364D-E919-A730-221723A84C73}"/>
          </ac:spMkLst>
        </pc:spChg>
        <pc:spChg chg="add mod">
          <ac:chgData name="Chloé Julie Charlotte Canavate" userId="a7bbf622-9e81-474e-9095-9598add3c9d2" providerId="ADAL" clId="{3125018F-0847-4360-889A-A6396523E99E}" dt="2022-07-12T11:45:14.465" v="1759"/>
          <ac:spMkLst>
            <pc:docMk/>
            <pc:sldMk cId="1320313918" sldId="265"/>
            <ac:spMk id="15" creationId="{BA9B2F38-66C4-8F57-281E-16E1036E287F}"/>
          </ac:spMkLst>
        </pc:spChg>
        <pc:spChg chg="mod">
          <ac:chgData name="Chloé Julie Charlotte Canavate" userId="a7bbf622-9e81-474e-9095-9598add3c9d2" providerId="ADAL" clId="{3125018F-0847-4360-889A-A6396523E99E}" dt="2022-07-12T12:30:18.978" v="2547"/>
          <ac:spMkLst>
            <pc:docMk/>
            <pc:sldMk cId="1320313918" sldId="265"/>
            <ac:spMk id="18" creationId="{D6175CB8-1977-EAD5-28BF-4A0379A80466}"/>
          </ac:spMkLst>
        </pc:spChg>
        <pc:spChg chg="mod">
          <ac:chgData name="Chloé Julie Charlotte Canavate" userId="a7bbf622-9e81-474e-9095-9598add3c9d2" providerId="ADAL" clId="{3125018F-0847-4360-889A-A6396523E99E}" dt="2022-07-12T12:30:18.978" v="2547"/>
          <ac:spMkLst>
            <pc:docMk/>
            <pc:sldMk cId="1320313918" sldId="265"/>
            <ac:spMk id="19" creationId="{700B79E3-329A-D479-0202-AA34A83338C6}"/>
          </ac:spMkLst>
        </pc:spChg>
        <pc:spChg chg="mod">
          <ac:chgData name="Chloé Julie Charlotte Canavate" userId="a7bbf622-9e81-474e-9095-9598add3c9d2" providerId="ADAL" clId="{3125018F-0847-4360-889A-A6396523E99E}" dt="2022-07-12T12:30:18.978" v="2547"/>
          <ac:spMkLst>
            <pc:docMk/>
            <pc:sldMk cId="1320313918" sldId="265"/>
            <ac:spMk id="20" creationId="{8F05ECFB-8116-A6BC-20DE-210237DD2C40}"/>
          </ac:spMkLst>
        </pc:spChg>
        <pc:spChg chg="add del mod">
          <ac:chgData name="Chloé Julie Charlotte Canavate" userId="a7bbf622-9e81-474e-9095-9598add3c9d2" providerId="ADAL" clId="{3125018F-0847-4360-889A-A6396523E99E}" dt="2022-07-12T12:30:34.389" v="2548" actId="478"/>
          <ac:spMkLst>
            <pc:docMk/>
            <pc:sldMk cId="1320313918" sldId="265"/>
            <ac:spMk id="21" creationId="{4C80177D-0228-A9C9-85AB-C8D25A8818D8}"/>
          </ac:spMkLst>
        </pc:spChg>
        <pc:spChg chg="add del mod">
          <ac:chgData name="Chloé Julie Charlotte Canavate" userId="a7bbf622-9e81-474e-9095-9598add3c9d2" providerId="ADAL" clId="{3125018F-0847-4360-889A-A6396523E99E}" dt="2022-07-12T12:30:34.389" v="2548" actId="478"/>
          <ac:spMkLst>
            <pc:docMk/>
            <pc:sldMk cId="1320313918" sldId="265"/>
            <ac:spMk id="23" creationId="{C0D15293-4FD1-1977-1C3F-46E10E198A27}"/>
          </ac:spMkLst>
        </pc:spChg>
        <pc:grpChg chg="add del mod">
          <ac:chgData name="Chloé Julie Charlotte Canavate" userId="a7bbf622-9e81-474e-9095-9598add3c9d2" providerId="ADAL" clId="{3125018F-0847-4360-889A-A6396523E99E}" dt="2022-07-12T12:30:34.389" v="2548" actId="478"/>
          <ac:grpSpMkLst>
            <pc:docMk/>
            <pc:sldMk cId="1320313918" sldId="265"/>
            <ac:grpSpMk id="17" creationId="{17C39C33-BCCD-9392-EBE2-8E1BAA5FB22A}"/>
          </ac:grpSpMkLst>
        </pc:grpChg>
        <pc:picChg chg="mod ord">
          <ac:chgData name="Chloé Julie Charlotte Canavate" userId="a7bbf622-9e81-474e-9095-9598add3c9d2" providerId="ADAL" clId="{3125018F-0847-4360-889A-A6396523E99E}" dt="2022-07-12T12:30:00.993" v="2546" actId="14100"/>
          <ac:picMkLst>
            <pc:docMk/>
            <pc:sldMk cId="1320313918" sldId="265"/>
            <ac:picMk id="7" creationId="{9C4D0B2D-CE43-6508-9F80-A804F6991A04}"/>
          </ac:picMkLst>
        </pc:picChg>
        <pc:picChg chg="add mod">
          <ac:chgData name="Chloé Julie Charlotte Canavate" userId="a7bbf622-9e81-474e-9095-9598add3c9d2" providerId="ADAL" clId="{3125018F-0847-4360-889A-A6396523E99E}" dt="2022-07-12T14:23:35.455" v="3910" actId="1076"/>
          <ac:picMkLst>
            <pc:docMk/>
            <pc:sldMk cId="1320313918" sldId="265"/>
            <ac:picMk id="8" creationId="{DE387D04-1D2C-62E3-2F4B-BFA984F89C6C}"/>
          </ac:picMkLst>
        </pc:picChg>
        <pc:picChg chg="add mod">
          <ac:chgData name="Chloé Julie Charlotte Canavate" userId="a7bbf622-9e81-474e-9095-9598add3c9d2" providerId="ADAL" clId="{3125018F-0847-4360-889A-A6396523E99E}" dt="2022-07-12T12:29:51.165" v="2545" actId="1038"/>
          <ac:picMkLst>
            <pc:docMk/>
            <pc:sldMk cId="1320313918" sldId="265"/>
            <ac:picMk id="16" creationId="{F6EA53AA-407B-FDF3-09FC-E28335A00706}"/>
          </ac:picMkLst>
        </pc:picChg>
        <pc:picChg chg="add del mod">
          <ac:chgData name="Chloé Julie Charlotte Canavate" userId="a7bbf622-9e81-474e-9095-9598add3c9d2" providerId="ADAL" clId="{3125018F-0847-4360-889A-A6396523E99E}" dt="2022-07-12T12:30:34.389" v="2548" actId="478"/>
          <ac:picMkLst>
            <pc:docMk/>
            <pc:sldMk cId="1320313918" sldId="265"/>
            <ac:picMk id="22" creationId="{52D6B5D7-FB81-132E-DD86-7F85F8D0E8EC}"/>
          </ac:picMkLst>
        </pc:picChg>
        <pc:picChg chg="add mod">
          <ac:chgData name="Chloé Julie Charlotte Canavate" userId="a7bbf622-9e81-474e-9095-9598add3c9d2" providerId="ADAL" clId="{3125018F-0847-4360-889A-A6396523E99E}" dt="2022-07-12T12:31:51.810" v="2555" actId="1076"/>
          <ac:picMkLst>
            <pc:docMk/>
            <pc:sldMk cId="1320313918" sldId="265"/>
            <ac:picMk id="24" creationId="{01173C8E-4076-12E0-EC9B-BECB23079DED}"/>
          </ac:picMkLst>
        </pc:picChg>
        <pc:inkChg chg="add mod">
          <ac:chgData name="Chloé Julie Charlotte Canavate" userId="a7bbf622-9e81-474e-9095-9598add3c9d2" providerId="ADAL" clId="{3125018F-0847-4360-889A-A6396523E99E}" dt="2022-07-12T11:45:14.465" v="1759"/>
          <ac:inkMkLst>
            <pc:docMk/>
            <pc:sldMk cId="1320313918" sldId="265"/>
            <ac:inkMk id="12" creationId="{F7F7F897-C55A-4C88-D858-311CACE3AED1}"/>
          </ac:inkMkLst>
        </pc:inkChg>
        <pc:inkChg chg="add mod">
          <ac:chgData name="Chloé Julie Charlotte Canavate" userId="a7bbf622-9e81-474e-9095-9598add3c9d2" providerId="ADAL" clId="{3125018F-0847-4360-889A-A6396523E99E}" dt="2022-07-12T11:45:14.465" v="1759"/>
          <ac:inkMkLst>
            <pc:docMk/>
            <pc:sldMk cId="1320313918" sldId="265"/>
            <ac:inkMk id="13" creationId="{CEB2F0FF-B2F8-F5F3-85EE-4647E690D659}"/>
          </ac:inkMkLst>
        </pc:inkChg>
        <pc:inkChg chg="add mod">
          <ac:chgData name="Chloé Julie Charlotte Canavate" userId="a7bbf622-9e81-474e-9095-9598add3c9d2" providerId="ADAL" clId="{3125018F-0847-4360-889A-A6396523E99E}" dt="2022-07-12T11:45:14.465" v="1759"/>
          <ac:inkMkLst>
            <pc:docMk/>
            <pc:sldMk cId="1320313918" sldId="265"/>
            <ac:inkMk id="14" creationId="{284F72BB-18D1-6557-280C-18C8200BE560}"/>
          </ac:inkMkLst>
        </pc:inkChg>
      </pc:sldChg>
      <pc:sldChg chg="delSp modSp mod modShow">
        <pc:chgData name="Chloé Julie Charlotte Canavate" userId="a7bbf622-9e81-474e-9095-9598add3c9d2" providerId="ADAL" clId="{3125018F-0847-4360-889A-A6396523E99E}" dt="2022-07-13T06:28:17.461" v="3911" actId="729"/>
        <pc:sldMkLst>
          <pc:docMk/>
          <pc:sldMk cId="819387463" sldId="272"/>
        </pc:sldMkLst>
        <pc:spChg chg="del mod">
          <ac:chgData name="Chloé Julie Charlotte Canavate" userId="a7bbf622-9e81-474e-9095-9598add3c9d2" providerId="ADAL" clId="{3125018F-0847-4360-889A-A6396523E99E}" dt="2022-07-12T09:26:13.382" v="109" actId="478"/>
          <ac:spMkLst>
            <pc:docMk/>
            <pc:sldMk cId="819387463" sldId="272"/>
            <ac:spMk id="50" creationId="{EE6862AA-9222-4933-821A-535525E24629}"/>
          </ac:spMkLst>
        </pc:spChg>
      </pc:sldChg>
      <pc:sldChg chg="delSp mod modShow">
        <pc:chgData name="Chloé Julie Charlotte Canavate" userId="a7bbf622-9e81-474e-9095-9598add3c9d2" providerId="ADAL" clId="{3125018F-0847-4360-889A-A6396523E99E}" dt="2022-07-13T06:28:19.428" v="3912" actId="729"/>
        <pc:sldMkLst>
          <pc:docMk/>
          <pc:sldMk cId="3608260996" sldId="275"/>
        </pc:sldMkLst>
        <pc:spChg chg="del">
          <ac:chgData name="Chloé Julie Charlotte Canavate" userId="a7bbf622-9e81-474e-9095-9598add3c9d2" providerId="ADAL" clId="{3125018F-0847-4360-889A-A6396523E99E}" dt="2022-07-12T09:26:30.837" v="112" actId="478"/>
          <ac:spMkLst>
            <pc:docMk/>
            <pc:sldMk cId="3608260996" sldId="275"/>
            <ac:spMk id="4" creationId="{32E8DF3F-D925-42CD-B051-416D48B5DF10}"/>
          </ac:spMkLst>
        </pc:spChg>
      </pc:sldChg>
      <pc:sldChg chg="mod modShow">
        <pc:chgData name="Chloé Julie Charlotte Canavate" userId="a7bbf622-9e81-474e-9095-9598add3c9d2" providerId="ADAL" clId="{3125018F-0847-4360-889A-A6396523E99E}" dt="2022-07-12T13:34:01.372" v="3573" actId="729"/>
        <pc:sldMkLst>
          <pc:docMk/>
          <pc:sldMk cId="3279857982" sldId="282"/>
        </pc:sldMkLst>
      </pc:sldChg>
      <pc:sldChg chg="delSp mod ord modShow">
        <pc:chgData name="Chloé Julie Charlotte Canavate" userId="a7bbf622-9e81-474e-9095-9598add3c9d2" providerId="ADAL" clId="{3125018F-0847-4360-889A-A6396523E99E}" dt="2022-07-12T10:56:09.440" v="1653"/>
        <pc:sldMkLst>
          <pc:docMk/>
          <pc:sldMk cId="4066729470" sldId="283"/>
        </pc:sldMkLst>
        <pc:spChg chg="del">
          <ac:chgData name="Chloé Julie Charlotte Canavate" userId="a7bbf622-9e81-474e-9095-9598add3c9d2" providerId="ADAL" clId="{3125018F-0847-4360-889A-A6396523E99E}" dt="2022-07-12T09:24:56.175" v="88" actId="478"/>
          <ac:spMkLst>
            <pc:docMk/>
            <pc:sldMk cId="4066729470" sldId="283"/>
            <ac:spMk id="4" creationId="{32E8DF3F-D925-42CD-B051-416D48B5DF10}"/>
          </ac:spMkLst>
        </pc:spChg>
      </pc:sldChg>
      <pc:sldChg chg="addSp delSp modSp mod">
        <pc:chgData name="Chloé Julie Charlotte Canavate" userId="a7bbf622-9e81-474e-9095-9598add3c9d2" providerId="ADAL" clId="{3125018F-0847-4360-889A-A6396523E99E}" dt="2022-07-12T11:49:38.117" v="1832" actId="20577"/>
        <pc:sldMkLst>
          <pc:docMk/>
          <pc:sldMk cId="416251179" sldId="285"/>
        </pc:sldMkLst>
        <pc:spChg chg="mod">
          <ac:chgData name="Chloé Julie Charlotte Canavate" userId="a7bbf622-9e81-474e-9095-9598add3c9d2" providerId="ADAL" clId="{3125018F-0847-4360-889A-A6396523E99E}" dt="2022-07-12T11:49:38.117" v="1832" actId="20577"/>
          <ac:spMkLst>
            <pc:docMk/>
            <pc:sldMk cId="416251179" sldId="285"/>
            <ac:spMk id="2" creationId="{C6785AE7-8B00-486C-9A8C-F571C93177E4}"/>
          </ac:spMkLst>
        </pc:spChg>
        <pc:spChg chg="add del mod">
          <ac:chgData name="Chloé Julie Charlotte Canavate" userId="a7bbf622-9e81-474e-9095-9598add3c9d2" providerId="ADAL" clId="{3125018F-0847-4360-889A-A6396523E99E}" dt="2022-07-12T09:44:22.568" v="192" actId="478"/>
          <ac:spMkLst>
            <pc:docMk/>
            <pc:sldMk cId="416251179" sldId="285"/>
            <ac:spMk id="3" creationId="{8E4DDB41-396A-3B8C-BF8F-F9A80A81B7EE}"/>
          </ac:spMkLst>
        </pc:spChg>
        <pc:spChg chg="del mod">
          <ac:chgData name="Chloé Julie Charlotte Canavate" userId="a7bbf622-9e81-474e-9095-9598add3c9d2" providerId="ADAL" clId="{3125018F-0847-4360-889A-A6396523E99E}" dt="2022-07-12T09:25:57.119" v="106" actId="478"/>
          <ac:spMkLst>
            <pc:docMk/>
            <pc:sldMk cId="416251179" sldId="285"/>
            <ac:spMk id="4" creationId="{32E8DF3F-D925-42CD-B051-416D48B5DF10}"/>
          </ac:spMkLst>
        </pc:spChg>
        <pc:spChg chg="del">
          <ac:chgData name="Chloé Julie Charlotte Canavate" userId="a7bbf622-9e81-474e-9095-9598add3c9d2" providerId="ADAL" clId="{3125018F-0847-4360-889A-A6396523E99E}" dt="2022-07-12T09:49:57.508" v="249" actId="21"/>
          <ac:spMkLst>
            <pc:docMk/>
            <pc:sldMk cId="416251179" sldId="285"/>
            <ac:spMk id="28" creationId="{ACDC6862-4848-5D49-4ED8-014977C2D6EB}"/>
          </ac:spMkLst>
        </pc:spChg>
        <pc:spChg chg="del">
          <ac:chgData name="Chloé Julie Charlotte Canavate" userId="a7bbf622-9e81-474e-9095-9598add3c9d2" providerId="ADAL" clId="{3125018F-0847-4360-889A-A6396523E99E}" dt="2022-07-12T09:49:52.720" v="247" actId="478"/>
          <ac:spMkLst>
            <pc:docMk/>
            <pc:sldMk cId="416251179" sldId="285"/>
            <ac:spMk id="34" creationId="{7CA64BA0-DBE1-F17B-34B6-C20217BF23DD}"/>
          </ac:spMkLst>
        </pc:spChg>
        <pc:spChg chg="del">
          <ac:chgData name="Chloé Julie Charlotte Canavate" userId="a7bbf622-9e81-474e-9095-9598add3c9d2" providerId="ADAL" clId="{3125018F-0847-4360-889A-A6396523E99E}" dt="2022-07-12T09:44:22.568" v="192" actId="478"/>
          <ac:spMkLst>
            <pc:docMk/>
            <pc:sldMk cId="416251179" sldId="285"/>
            <ac:spMk id="35" creationId="{0D880D67-556A-A6F4-7EEF-6DAADD31F345}"/>
          </ac:spMkLst>
        </pc:spChg>
        <pc:spChg chg="del">
          <ac:chgData name="Chloé Julie Charlotte Canavate" userId="a7bbf622-9e81-474e-9095-9598add3c9d2" providerId="ADAL" clId="{3125018F-0847-4360-889A-A6396523E99E}" dt="2022-07-12T09:44:35.325" v="196" actId="478"/>
          <ac:spMkLst>
            <pc:docMk/>
            <pc:sldMk cId="416251179" sldId="285"/>
            <ac:spMk id="36" creationId="{DD478FD4-6EA3-8347-5839-63F9A62BDEC9}"/>
          </ac:spMkLst>
        </pc:spChg>
        <pc:picChg chg="mod">
          <ac:chgData name="Chloé Julie Charlotte Canavate" userId="a7bbf622-9e81-474e-9095-9598add3c9d2" providerId="ADAL" clId="{3125018F-0847-4360-889A-A6396523E99E}" dt="2022-07-12T09:51:25.913" v="302" actId="1036"/>
          <ac:picMkLst>
            <pc:docMk/>
            <pc:sldMk cId="416251179" sldId="285"/>
            <ac:picMk id="18" creationId="{8094C1AE-2B4C-C9CF-20DE-3D14583B5A83}"/>
          </ac:picMkLst>
        </pc:picChg>
        <pc:cxnChg chg="del">
          <ac:chgData name="Chloé Julie Charlotte Canavate" userId="a7bbf622-9e81-474e-9095-9598add3c9d2" providerId="ADAL" clId="{3125018F-0847-4360-889A-A6396523E99E}" dt="2022-07-12T09:49:55.569" v="248" actId="478"/>
          <ac:cxnSpMkLst>
            <pc:docMk/>
            <pc:sldMk cId="416251179" sldId="285"/>
            <ac:cxnSpMk id="23" creationId="{80FBE4FE-7A23-2C33-5C0E-7E78F11FF048}"/>
          </ac:cxnSpMkLst>
        </pc:cxnChg>
        <pc:cxnChg chg="del">
          <ac:chgData name="Chloé Julie Charlotte Canavate" userId="a7bbf622-9e81-474e-9095-9598add3c9d2" providerId="ADAL" clId="{3125018F-0847-4360-889A-A6396523E99E}" dt="2022-07-12T09:44:32.922" v="195" actId="478"/>
          <ac:cxnSpMkLst>
            <pc:docMk/>
            <pc:sldMk cId="416251179" sldId="285"/>
            <ac:cxnSpMk id="25" creationId="{2E46FAE3-0AAA-9D30-ED1E-E1811BF84850}"/>
          </ac:cxnSpMkLst>
        </pc:cxnChg>
        <pc:cxnChg chg="del">
          <ac:chgData name="Chloé Julie Charlotte Canavate" userId="a7bbf622-9e81-474e-9095-9598add3c9d2" providerId="ADAL" clId="{3125018F-0847-4360-889A-A6396523E99E}" dt="2022-07-12T09:44:22.568" v="192" actId="478"/>
          <ac:cxnSpMkLst>
            <pc:docMk/>
            <pc:sldMk cId="416251179" sldId="285"/>
            <ac:cxnSpMk id="27" creationId="{BD56A37C-D6C0-896E-A9DE-AA5A2C73BBE7}"/>
          </ac:cxnSpMkLst>
        </pc:cxnChg>
        <pc:cxnChg chg="del mod">
          <ac:chgData name="Chloé Julie Charlotte Canavate" userId="a7bbf622-9e81-474e-9095-9598add3c9d2" providerId="ADAL" clId="{3125018F-0847-4360-889A-A6396523E99E}" dt="2022-07-12T09:44:32.922" v="195" actId="478"/>
          <ac:cxnSpMkLst>
            <pc:docMk/>
            <pc:sldMk cId="416251179" sldId="285"/>
            <ac:cxnSpMk id="30" creationId="{7EBC5E13-1FAD-AE19-BFB2-F9BAB3753254}"/>
          </ac:cxnSpMkLst>
        </pc:cxnChg>
      </pc:sldChg>
      <pc:sldChg chg="addSp delSp modSp mod ord addCm">
        <pc:chgData name="Chloé Julie Charlotte Canavate" userId="a7bbf622-9e81-474e-9095-9598add3c9d2" providerId="ADAL" clId="{3125018F-0847-4360-889A-A6396523E99E}" dt="2022-07-12T11:54:33.967" v="1879" actId="1076"/>
        <pc:sldMkLst>
          <pc:docMk/>
          <pc:sldMk cId="10835379" sldId="286"/>
        </pc:sldMkLst>
        <pc:spChg chg="mod">
          <ac:chgData name="Chloé Julie Charlotte Canavate" userId="a7bbf622-9e81-474e-9095-9598add3c9d2" providerId="ADAL" clId="{3125018F-0847-4360-889A-A6396523E99E}" dt="2022-07-12T11:50:14.648" v="1855" actId="20577"/>
          <ac:spMkLst>
            <pc:docMk/>
            <pc:sldMk cId="10835379" sldId="286"/>
            <ac:spMk id="2" creationId="{C6785AE7-8B00-486C-9A8C-F571C93177E4}"/>
          </ac:spMkLst>
        </pc:spChg>
        <pc:spChg chg="del">
          <ac:chgData name="Chloé Julie Charlotte Canavate" userId="a7bbf622-9e81-474e-9095-9598add3c9d2" providerId="ADAL" clId="{3125018F-0847-4360-889A-A6396523E99E}" dt="2022-07-12T09:26:05.292" v="107" actId="478"/>
          <ac:spMkLst>
            <pc:docMk/>
            <pc:sldMk cId="10835379" sldId="286"/>
            <ac:spMk id="4" creationId="{32E8DF3F-D925-42CD-B051-416D48B5DF10}"/>
          </ac:spMkLst>
        </pc:spChg>
        <pc:spChg chg="mod">
          <ac:chgData name="Chloé Julie Charlotte Canavate" userId="a7bbf622-9e81-474e-9095-9598add3c9d2" providerId="ADAL" clId="{3125018F-0847-4360-889A-A6396523E99E}" dt="2022-07-12T11:53:23.604" v="1867" actId="113"/>
          <ac:spMkLst>
            <pc:docMk/>
            <pc:sldMk cId="10835379" sldId="286"/>
            <ac:spMk id="9" creationId="{10D91B8B-95A3-7950-33F4-F0C65428C2FB}"/>
          </ac:spMkLst>
        </pc:spChg>
        <pc:spChg chg="mod">
          <ac:chgData name="Chloé Julie Charlotte Canavate" userId="a7bbf622-9e81-474e-9095-9598add3c9d2" providerId="ADAL" clId="{3125018F-0847-4360-889A-A6396523E99E}" dt="2022-07-12T11:53:21.590" v="1866" actId="113"/>
          <ac:spMkLst>
            <pc:docMk/>
            <pc:sldMk cId="10835379" sldId="286"/>
            <ac:spMk id="10" creationId="{9AAE5E7A-AFF6-8CEC-C451-B4DB9D4A29B5}"/>
          </ac:spMkLst>
        </pc:spChg>
        <pc:spChg chg="mod">
          <ac:chgData name="Chloé Julie Charlotte Canavate" userId="a7bbf622-9e81-474e-9095-9598add3c9d2" providerId="ADAL" clId="{3125018F-0847-4360-889A-A6396523E99E}" dt="2022-07-12T11:53:12.537" v="1865" actId="113"/>
          <ac:spMkLst>
            <pc:docMk/>
            <pc:sldMk cId="10835379" sldId="286"/>
            <ac:spMk id="13" creationId="{EA0AAACE-10EF-23B3-5A39-E9B78A1965A2}"/>
          </ac:spMkLst>
        </pc:spChg>
        <pc:spChg chg="add del mod">
          <ac:chgData name="Chloé Julie Charlotte Canavate" userId="a7bbf622-9e81-474e-9095-9598add3c9d2" providerId="ADAL" clId="{3125018F-0847-4360-889A-A6396523E99E}" dt="2022-07-12T11:54:29.990" v="1878" actId="478"/>
          <ac:spMkLst>
            <pc:docMk/>
            <pc:sldMk cId="10835379" sldId="286"/>
            <ac:spMk id="18" creationId="{14085A2F-FB7A-8506-0740-4C5CC84456C1}"/>
          </ac:spMkLst>
        </pc:spChg>
        <pc:spChg chg="add mod">
          <ac:chgData name="Chloé Julie Charlotte Canavate" userId="a7bbf622-9e81-474e-9095-9598add3c9d2" providerId="ADAL" clId="{3125018F-0847-4360-889A-A6396523E99E}" dt="2022-07-12T11:54:33.967" v="1879" actId="1076"/>
          <ac:spMkLst>
            <pc:docMk/>
            <pc:sldMk cId="10835379" sldId="286"/>
            <ac:spMk id="19" creationId="{BC935FDC-9907-29EB-66D5-EB298B1D9F6D}"/>
          </ac:spMkLst>
        </pc:spChg>
        <pc:spChg chg="add mod">
          <ac:chgData name="Chloé Julie Charlotte Canavate" userId="a7bbf622-9e81-474e-9095-9598add3c9d2" providerId="ADAL" clId="{3125018F-0847-4360-889A-A6396523E99E}" dt="2022-07-12T11:54:33.967" v="1879" actId="1076"/>
          <ac:spMkLst>
            <pc:docMk/>
            <pc:sldMk cId="10835379" sldId="286"/>
            <ac:spMk id="23" creationId="{226A9BEA-2D63-9003-D1CD-CD7FBE1E763C}"/>
          </ac:spMkLst>
        </pc:spChg>
        <pc:grpChg chg="add mod">
          <ac:chgData name="Chloé Julie Charlotte Canavate" userId="a7bbf622-9e81-474e-9095-9598add3c9d2" providerId="ADAL" clId="{3125018F-0847-4360-889A-A6396523E99E}" dt="2022-07-12T11:54:33.967" v="1879" actId="1076"/>
          <ac:grpSpMkLst>
            <pc:docMk/>
            <pc:sldMk cId="10835379" sldId="286"/>
            <ac:grpSpMk id="3" creationId="{1DF06903-DDD6-1B4A-BA75-E6B079A60872}"/>
          </ac:grpSpMkLst>
        </pc:grpChg>
        <pc:picChg chg="mod">
          <ac:chgData name="Chloé Julie Charlotte Canavate" userId="a7bbf622-9e81-474e-9095-9598add3c9d2" providerId="ADAL" clId="{3125018F-0847-4360-889A-A6396523E99E}" dt="2022-07-12T11:54:19.439" v="1876" actId="1076"/>
          <ac:picMkLst>
            <pc:docMk/>
            <pc:sldMk cId="10835379" sldId="286"/>
            <ac:picMk id="8" creationId="{21D492DE-2C37-EAAC-A18C-6762A765104B}"/>
          </ac:picMkLst>
        </pc:picChg>
        <pc:picChg chg="mod">
          <ac:chgData name="Chloé Julie Charlotte Canavate" userId="a7bbf622-9e81-474e-9095-9598add3c9d2" providerId="ADAL" clId="{3125018F-0847-4360-889A-A6396523E99E}" dt="2022-07-12T11:52:27.350" v="1859" actId="1440"/>
          <ac:picMkLst>
            <pc:docMk/>
            <pc:sldMk cId="10835379" sldId="286"/>
            <ac:picMk id="12" creationId="{996C2096-AF38-057E-38A3-DA4AE464DF08}"/>
          </ac:picMkLst>
        </pc:picChg>
        <pc:picChg chg="mod">
          <ac:chgData name="Chloé Julie Charlotte Canavate" userId="a7bbf622-9e81-474e-9095-9598add3c9d2" providerId="ADAL" clId="{3125018F-0847-4360-889A-A6396523E99E}" dt="2022-07-12T11:52:41.219" v="1860" actId="1440"/>
          <ac:picMkLst>
            <pc:docMk/>
            <pc:sldMk cId="10835379" sldId="286"/>
            <ac:picMk id="14" creationId="{768D4EAF-AAA7-12D2-AC29-6B19837A8AA5}"/>
          </ac:picMkLst>
        </pc:picChg>
        <pc:picChg chg="add del mod">
          <ac:chgData name="Chloé Julie Charlotte Canavate" userId="a7bbf622-9e81-474e-9095-9598add3c9d2" providerId="ADAL" clId="{3125018F-0847-4360-889A-A6396523E99E}" dt="2022-07-12T11:53:49.048" v="1869" actId="478"/>
          <ac:picMkLst>
            <pc:docMk/>
            <pc:sldMk cId="10835379" sldId="286"/>
            <ac:picMk id="15" creationId="{17435BF6-3577-A7A7-8DAC-E395EE2BB6F5}"/>
          </ac:picMkLst>
        </pc:picChg>
        <pc:picChg chg="add mod">
          <ac:chgData name="Chloé Julie Charlotte Canavate" userId="a7bbf622-9e81-474e-9095-9598add3c9d2" providerId="ADAL" clId="{3125018F-0847-4360-889A-A6396523E99E}" dt="2022-07-12T11:54:33.967" v="1879" actId="1076"/>
          <ac:picMkLst>
            <pc:docMk/>
            <pc:sldMk cId="10835379" sldId="286"/>
            <ac:picMk id="16" creationId="{AA1CFA04-BE1A-385F-51C1-40D3F3FCC611}"/>
          </ac:picMkLst>
        </pc:picChg>
        <pc:inkChg chg="add mod">
          <ac:chgData name="Chloé Julie Charlotte Canavate" userId="a7bbf622-9e81-474e-9095-9598add3c9d2" providerId="ADAL" clId="{3125018F-0847-4360-889A-A6396523E99E}" dt="2022-07-12T11:54:33.967" v="1879" actId="1076"/>
          <ac:inkMkLst>
            <pc:docMk/>
            <pc:sldMk cId="10835379" sldId="286"/>
            <ac:inkMk id="20" creationId="{AB2F7A36-A46F-3FBA-1AFB-4993B7BB7E04}"/>
          </ac:inkMkLst>
        </pc:inkChg>
        <pc:inkChg chg="add mod">
          <ac:chgData name="Chloé Julie Charlotte Canavate" userId="a7bbf622-9e81-474e-9095-9598add3c9d2" providerId="ADAL" clId="{3125018F-0847-4360-889A-A6396523E99E}" dt="2022-07-12T11:54:33.967" v="1879" actId="1076"/>
          <ac:inkMkLst>
            <pc:docMk/>
            <pc:sldMk cId="10835379" sldId="286"/>
            <ac:inkMk id="21" creationId="{58C2900C-6C98-0AE2-EF08-B813EC8773A4}"/>
          </ac:inkMkLst>
        </pc:inkChg>
        <pc:inkChg chg="add mod">
          <ac:chgData name="Chloé Julie Charlotte Canavate" userId="a7bbf622-9e81-474e-9095-9598add3c9d2" providerId="ADAL" clId="{3125018F-0847-4360-889A-A6396523E99E}" dt="2022-07-12T11:54:33.967" v="1879" actId="1076"/>
          <ac:inkMkLst>
            <pc:docMk/>
            <pc:sldMk cId="10835379" sldId="286"/>
            <ac:inkMk id="22" creationId="{FFC38526-42C3-0648-86A8-31A3A3028613}"/>
          </ac:inkMkLst>
        </pc:inkChg>
        <pc:cxnChg chg="del">
          <ac:chgData name="Chloé Julie Charlotte Canavate" userId="a7bbf622-9e81-474e-9095-9598add3c9d2" providerId="ADAL" clId="{3125018F-0847-4360-889A-A6396523E99E}" dt="2022-07-12T11:52:59.788" v="1863" actId="478"/>
          <ac:cxnSpMkLst>
            <pc:docMk/>
            <pc:sldMk cId="10835379" sldId="286"/>
            <ac:cxnSpMk id="11" creationId="{5A07A60E-8E3E-3437-7E5E-EA98AC6C1AA8}"/>
          </ac:cxnSpMkLst>
        </pc:cxnChg>
      </pc:sldChg>
      <pc:sldChg chg="del">
        <pc:chgData name="Chloé Julie Charlotte Canavate" userId="a7bbf622-9e81-474e-9095-9598add3c9d2" providerId="ADAL" clId="{3125018F-0847-4360-889A-A6396523E99E}" dt="2022-07-12T09:28:27.190" v="129" actId="2696"/>
        <pc:sldMkLst>
          <pc:docMk/>
          <pc:sldMk cId="1369366222" sldId="287"/>
        </pc:sldMkLst>
      </pc:sldChg>
      <pc:sldChg chg="addSp delSp modSp mod">
        <pc:chgData name="Chloé Julie Charlotte Canavate" userId="a7bbf622-9e81-474e-9095-9598add3c9d2" providerId="ADAL" clId="{3125018F-0847-4360-889A-A6396523E99E}" dt="2022-07-12T13:19:11.423" v="3048"/>
        <pc:sldMkLst>
          <pc:docMk/>
          <pc:sldMk cId="4285127156" sldId="288"/>
        </pc:sldMkLst>
        <pc:spChg chg="del mod">
          <ac:chgData name="Chloé Julie Charlotte Canavate" userId="a7bbf622-9e81-474e-9095-9598add3c9d2" providerId="ADAL" clId="{3125018F-0847-4360-889A-A6396523E99E}" dt="2022-07-12T11:57:29.886" v="1890" actId="478"/>
          <ac:spMkLst>
            <pc:docMk/>
            <pc:sldMk cId="4285127156" sldId="288"/>
            <ac:spMk id="2" creationId="{C6785AE7-8B00-486C-9A8C-F571C93177E4}"/>
          </ac:spMkLst>
        </pc:spChg>
        <pc:spChg chg="del">
          <ac:chgData name="Chloé Julie Charlotte Canavate" userId="a7bbf622-9e81-474e-9095-9598add3c9d2" providerId="ADAL" clId="{3125018F-0847-4360-889A-A6396523E99E}" dt="2022-07-12T09:27:28.342" v="119" actId="478"/>
          <ac:spMkLst>
            <pc:docMk/>
            <pc:sldMk cId="4285127156" sldId="288"/>
            <ac:spMk id="4" creationId="{32E8DF3F-D925-42CD-B051-416D48B5DF10}"/>
          </ac:spMkLst>
        </pc:spChg>
        <pc:spChg chg="mod ord">
          <ac:chgData name="Chloé Julie Charlotte Canavate" userId="a7bbf622-9e81-474e-9095-9598add3c9d2" providerId="ADAL" clId="{3125018F-0847-4360-889A-A6396523E99E}" dt="2022-07-12T13:15:02.945" v="3022" actId="113"/>
          <ac:spMkLst>
            <pc:docMk/>
            <pc:sldMk cId="4285127156" sldId="288"/>
            <ac:spMk id="10" creationId="{2C449833-C45A-755C-3F4D-3EE7D6B6D03F}"/>
          </ac:spMkLst>
        </pc:spChg>
        <pc:spChg chg="add del mod">
          <ac:chgData name="Chloé Julie Charlotte Canavate" userId="a7bbf622-9e81-474e-9095-9598add3c9d2" providerId="ADAL" clId="{3125018F-0847-4360-889A-A6396523E99E}" dt="2022-07-12T11:57:25.713" v="1889" actId="478"/>
          <ac:spMkLst>
            <pc:docMk/>
            <pc:sldMk cId="4285127156" sldId="288"/>
            <ac:spMk id="11" creationId="{B02C7238-5CF1-E76E-3463-15563936AFEA}"/>
          </ac:spMkLst>
        </pc:spChg>
        <pc:spChg chg="mod ord">
          <ac:chgData name="Chloé Julie Charlotte Canavate" userId="a7bbf622-9e81-474e-9095-9598add3c9d2" providerId="ADAL" clId="{3125018F-0847-4360-889A-A6396523E99E}" dt="2022-07-12T13:17:23.086" v="3041" actId="20577"/>
          <ac:spMkLst>
            <pc:docMk/>
            <pc:sldMk cId="4285127156" sldId="288"/>
            <ac:spMk id="13" creationId="{F53F6AE3-79B5-5F7F-4CF7-1C4883098654}"/>
          </ac:spMkLst>
        </pc:spChg>
        <pc:spChg chg="add mod">
          <ac:chgData name="Chloé Julie Charlotte Canavate" userId="a7bbf622-9e81-474e-9095-9598add3c9d2" providerId="ADAL" clId="{3125018F-0847-4360-889A-A6396523E99E}" dt="2022-07-12T13:14:38.333" v="3019" actId="1076"/>
          <ac:spMkLst>
            <pc:docMk/>
            <pc:sldMk cId="4285127156" sldId="288"/>
            <ac:spMk id="14" creationId="{199E4E8B-1930-C013-85E5-0FC6DA5F3ADF}"/>
          </ac:spMkLst>
        </pc:spChg>
        <pc:spChg chg="add mod">
          <ac:chgData name="Chloé Julie Charlotte Canavate" userId="a7bbf622-9e81-474e-9095-9598add3c9d2" providerId="ADAL" clId="{3125018F-0847-4360-889A-A6396523E99E}" dt="2022-07-12T13:17:35.854" v="3042" actId="14100"/>
          <ac:spMkLst>
            <pc:docMk/>
            <pc:sldMk cId="4285127156" sldId="288"/>
            <ac:spMk id="15" creationId="{4DF491FC-1F9D-9BAE-3F28-7C0265A1DF50}"/>
          </ac:spMkLst>
        </pc:spChg>
        <pc:spChg chg="mod">
          <ac:chgData name="Chloé Julie Charlotte Canavate" userId="a7bbf622-9e81-474e-9095-9598add3c9d2" providerId="ADAL" clId="{3125018F-0847-4360-889A-A6396523E99E}" dt="2022-07-12T13:19:09.853" v="3047"/>
          <ac:spMkLst>
            <pc:docMk/>
            <pc:sldMk cId="4285127156" sldId="288"/>
            <ac:spMk id="17" creationId="{5377B217-812C-3D45-D7FD-8FED5F28DD7B}"/>
          </ac:spMkLst>
        </pc:spChg>
        <pc:spChg chg="mod">
          <ac:chgData name="Chloé Julie Charlotte Canavate" userId="a7bbf622-9e81-474e-9095-9598add3c9d2" providerId="ADAL" clId="{3125018F-0847-4360-889A-A6396523E99E}" dt="2022-07-12T13:19:09.853" v="3047"/>
          <ac:spMkLst>
            <pc:docMk/>
            <pc:sldMk cId="4285127156" sldId="288"/>
            <ac:spMk id="18" creationId="{86069926-B0FB-98EC-EEA9-1C7C28DA1B4A}"/>
          </ac:spMkLst>
        </pc:spChg>
        <pc:spChg chg="mod">
          <ac:chgData name="Chloé Julie Charlotte Canavate" userId="a7bbf622-9e81-474e-9095-9598add3c9d2" providerId="ADAL" clId="{3125018F-0847-4360-889A-A6396523E99E}" dt="2022-07-12T13:19:09.853" v="3047"/>
          <ac:spMkLst>
            <pc:docMk/>
            <pc:sldMk cId="4285127156" sldId="288"/>
            <ac:spMk id="19" creationId="{052EF1C7-4B82-9355-765F-09E6533B01CF}"/>
          </ac:spMkLst>
        </pc:spChg>
        <pc:spChg chg="mod">
          <ac:chgData name="Chloé Julie Charlotte Canavate" userId="a7bbf622-9e81-474e-9095-9598add3c9d2" providerId="ADAL" clId="{3125018F-0847-4360-889A-A6396523E99E}" dt="2022-07-12T13:19:09.853" v="3047"/>
          <ac:spMkLst>
            <pc:docMk/>
            <pc:sldMk cId="4285127156" sldId="288"/>
            <ac:spMk id="21" creationId="{B99ED0F6-B204-52AA-02C3-691910DC38F8}"/>
          </ac:spMkLst>
        </pc:spChg>
        <pc:spChg chg="mod">
          <ac:chgData name="Chloé Julie Charlotte Canavate" userId="a7bbf622-9e81-474e-9095-9598add3c9d2" providerId="ADAL" clId="{3125018F-0847-4360-889A-A6396523E99E}" dt="2022-07-12T13:19:09.853" v="3047"/>
          <ac:spMkLst>
            <pc:docMk/>
            <pc:sldMk cId="4285127156" sldId="288"/>
            <ac:spMk id="22" creationId="{0E9DBFCA-2407-B7EB-4BD8-28C78E8663C8}"/>
          </ac:spMkLst>
        </pc:spChg>
        <pc:spChg chg="mod">
          <ac:chgData name="Chloé Julie Charlotte Canavate" userId="a7bbf622-9e81-474e-9095-9598add3c9d2" providerId="ADAL" clId="{3125018F-0847-4360-889A-A6396523E99E}" dt="2022-07-12T13:19:09.853" v="3047"/>
          <ac:spMkLst>
            <pc:docMk/>
            <pc:sldMk cId="4285127156" sldId="288"/>
            <ac:spMk id="23" creationId="{86A7618B-34CB-552C-9770-03FF686A6F53}"/>
          </ac:spMkLst>
        </pc:spChg>
        <pc:spChg chg="mod">
          <ac:chgData name="Chloé Julie Charlotte Canavate" userId="a7bbf622-9e81-474e-9095-9598add3c9d2" providerId="ADAL" clId="{3125018F-0847-4360-889A-A6396523E99E}" dt="2022-07-12T13:19:09.853" v="3047"/>
          <ac:spMkLst>
            <pc:docMk/>
            <pc:sldMk cId="4285127156" sldId="288"/>
            <ac:spMk id="25" creationId="{1931FCAB-4573-B598-5E33-34F9234B8B87}"/>
          </ac:spMkLst>
        </pc:spChg>
        <pc:spChg chg="mod">
          <ac:chgData name="Chloé Julie Charlotte Canavate" userId="a7bbf622-9e81-474e-9095-9598add3c9d2" providerId="ADAL" clId="{3125018F-0847-4360-889A-A6396523E99E}" dt="2022-07-12T13:19:09.853" v="3047"/>
          <ac:spMkLst>
            <pc:docMk/>
            <pc:sldMk cId="4285127156" sldId="288"/>
            <ac:spMk id="26" creationId="{E164057B-136F-207F-F68A-DBE47BED8205}"/>
          </ac:spMkLst>
        </pc:spChg>
        <pc:spChg chg="mod">
          <ac:chgData name="Chloé Julie Charlotte Canavate" userId="a7bbf622-9e81-474e-9095-9598add3c9d2" providerId="ADAL" clId="{3125018F-0847-4360-889A-A6396523E99E}" dt="2022-07-12T13:19:09.853" v="3047"/>
          <ac:spMkLst>
            <pc:docMk/>
            <pc:sldMk cId="4285127156" sldId="288"/>
            <ac:spMk id="27" creationId="{6925B3A2-31F8-9C45-B14B-7241682D2267}"/>
          </ac:spMkLst>
        </pc:spChg>
        <pc:spChg chg="add del mod">
          <ac:chgData name="Chloé Julie Charlotte Canavate" userId="a7bbf622-9e81-474e-9095-9598add3c9d2" providerId="ADAL" clId="{3125018F-0847-4360-889A-A6396523E99E}" dt="2022-07-12T13:19:11.423" v="3048"/>
          <ac:spMkLst>
            <pc:docMk/>
            <pc:sldMk cId="4285127156" sldId="288"/>
            <ac:spMk id="28" creationId="{49DBF230-79EB-D497-CAF8-AB186EE90EFF}"/>
          </ac:spMkLst>
        </pc:spChg>
        <pc:spChg chg="add del mod">
          <ac:chgData name="Chloé Julie Charlotte Canavate" userId="a7bbf622-9e81-474e-9095-9598add3c9d2" providerId="ADAL" clId="{3125018F-0847-4360-889A-A6396523E99E}" dt="2022-07-12T13:19:11.423" v="3048"/>
          <ac:spMkLst>
            <pc:docMk/>
            <pc:sldMk cId="4285127156" sldId="288"/>
            <ac:spMk id="29" creationId="{3F861669-3EC0-55E9-BAD9-8B8E68278E49}"/>
          </ac:spMkLst>
        </pc:spChg>
        <pc:spChg chg="add del mod">
          <ac:chgData name="Chloé Julie Charlotte Canavate" userId="a7bbf622-9e81-474e-9095-9598add3c9d2" providerId="ADAL" clId="{3125018F-0847-4360-889A-A6396523E99E}" dt="2022-07-12T13:19:11.423" v="3048"/>
          <ac:spMkLst>
            <pc:docMk/>
            <pc:sldMk cId="4285127156" sldId="288"/>
            <ac:spMk id="30" creationId="{5991AC8F-9D29-AE77-0E3F-CF24664CDCB1}"/>
          </ac:spMkLst>
        </pc:spChg>
        <pc:spChg chg="add del mod">
          <ac:chgData name="Chloé Julie Charlotte Canavate" userId="a7bbf622-9e81-474e-9095-9598add3c9d2" providerId="ADAL" clId="{3125018F-0847-4360-889A-A6396523E99E}" dt="2022-07-12T13:19:11.423" v="3048"/>
          <ac:spMkLst>
            <pc:docMk/>
            <pc:sldMk cId="4285127156" sldId="288"/>
            <ac:spMk id="32" creationId="{C05DD699-61CC-BFB3-7751-0E371D210170}"/>
          </ac:spMkLst>
        </pc:spChg>
        <pc:spChg chg="add del mod">
          <ac:chgData name="Chloé Julie Charlotte Canavate" userId="a7bbf622-9e81-474e-9095-9598add3c9d2" providerId="ADAL" clId="{3125018F-0847-4360-889A-A6396523E99E}" dt="2022-07-12T13:19:11.423" v="3048"/>
          <ac:spMkLst>
            <pc:docMk/>
            <pc:sldMk cId="4285127156" sldId="288"/>
            <ac:spMk id="34" creationId="{4FD8A8D4-07F6-EC51-A4B4-83008FAAFD2B}"/>
          </ac:spMkLst>
        </pc:spChg>
        <pc:spChg chg="add del mod">
          <ac:chgData name="Chloé Julie Charlotte Canavate" userId="a7bbf622-9e81-474e-9095-9598add3c9d2" providerId="ADAL" clId="{3125018F-0847-4360-889A-A6396523E99E}" dt="2022-07-12T13:19:11.423" v="3048"/>
          <ac:spMkLst>
            <pc:docMk/>
            <pc:sldMk cId="4285127156" sldId="288"/>
            <ac:spMk id="36" creationId="{48D4DF76-6D89-E5F6-B952-54884238231C}"/>
          </ac:spMkLst>
        </pc:spChg>
        <pc:grpChg chg="add del mod">
          <ac:chgData name="Chloé Julie Charlotte Canavate" userId="a7bbf622-9e81-474e-9095-9598add3c9d2" providerId="ADAL" clId="{3125018F-0847-4360-889A-A6396523E99E}" dt="2022-07-12T13:19:11.423" v="3048"/>
          <ac:grpSpMkLst>
            <pc:docMk/>
            <pc:sldMk cId="4285127156" sldId="288"/>
            <ac:grpSpMk id="16" creationId="{11065F49-DFFA-1179-2AAB-50EABE3283E0}"/>
          </ac:grpSpMkLst>
        </pc:grpChg>
        <pc:grpChg chg="add del mod">
          <ac:chgData name="Chloé Julie Charlotte Canavate" userId="a7bbf622-9e81-474e-9095-9598add3c9d2" providerId="ADAL" clId="{3125018F-0847-4360-889A-A6396523E99E}" dt="2022-07-12T13:19:11.423" v="3048"/>
          <ac:grpSpMkLst>
            <pc:docMk/>
            <pc:sldMk cId="4285127156" sldId="288"/>
            <ac:grpSpMk id="20" creationId="{FB58C515-8F75-966F-D115-431F21180DC5}"/>
          </ac:grpSpMkLst>
        </pc:grpChg>
        <pc:grpChg chg="add del mod">
          <ac:chgData name="Chloé Julie Charlotte Canavate" userId="a7bbf622-9e81-474e-9095-9598add3c9d2" providerId="ADAL" clId="{3125018F-0847-4360-889A-A6396523E99E}" dt="2022-07-12T13:19:11.423" v="3048"/>
          <ac:grpSpMkLst>
            <pc:docMk/>
            <pc:sldMk cId="4285127156" sldId="288"/>
            <ac:grpSpMk id="24" creationId="{C70B41D0-9C5B-23AF-0766-5A997D75F6FF}"/>
          </ac:grpSpMkLst>
        </pc:grpChg>
        <pc:picChg chg="mod">
          <ac:chgData name="Chloé Julie Charlotte Canavate" userId="a7bbf622-9e81-474e-9095-9598add3c9d2" providerId="ADAL" clId="{3125018F-0847-4360-889A-A6396523E99E}" dt="2022-07-12T13:13:56.389" v="3006" actId="1076"/>
          <ac:picMkLst>
            <pc:docMk/>
            <pc:sldMk cId="4285127156" sldId="288"/>
            <ac:picMk id="5" creationId="{7C0E96CF-E869-503E-3AD9-2CAA20B2985D}"/>
          </ac:picMkLst>
        </pc:picChg>
        <pc:picChg chg="mod">
          <ac:chgData name="Chloé Julie Charlotte Canavate" userId="a7bbf622-9e81-474e-9095-9598add3c9d2" providerId="ADAL" clId="{3125018F-0847-4360-889A-A6396523E99E}" dt="2022-07-12T13:17:51.455" v="3044" actId="1076"/>
          <ac:picMkLst>
            <pc:docMk/>
            <pc:sldMk cId="4285127156" sldId="288"/>
            <ac:picMk id="9" creationId="{846967B7-83C9-7A75-BED7-77F5CE3AC841}"/>
          </ac:picMkLst>
        </pc:picChg>
        <pc:picChg chg="mod">
          <ac:chgData name="Chloé Julie Charlotte Canavate" userId="a7bbf622-9e81-474e-9095-9598add3c9d2" providerId="ADAL" clId="{3125018F-0847-4360-889A-A6396523E99E}" dt="2022-07-12T13:18:02.711" v="3046" actId="1076"/>
          <ac:picMkLst>
            <pc:docMk/>
            <pc:sldMk cId="4285127156" sldId="288"/>
            <ac:picMk id="12" creationId="{15CC479E-4A48-1A53-49FA-5773356DC7CB}"/>
          </ac:picMkLst>
        </pc:picChg>
        <pc:picChg chg="add del mod">
          <ac:chgData name="Chloé Julie Charlotte Canavate" userId="a7bbf622-9e81-474e-9095-9598add3c9d2" providerId="ADAL" clId="{3125018F-0847-4360-889A-A6396523E99E}" dt="2022-07-12T13:19:11.423" v="3048"/>
          <ac:picMkLst>
            <pc:docMk/>
            <pc:sldMk cId="4285127156" sldId="288"/>
            <ac:picMk id="31" creationId="{E23B2C7C-CA77-CFC4-B3CC-9036CCDAED76}"/>
          </ac:picMkLst>
        </pc:picChg>
        <pc:picChg chg="add del mod">
          <ac:chgData name="Chloé Julie Charlotte Canavate" userId="a7bbf622-9e81-474e-9095-9598add3c9d2" providerId="ADAL" clId="{3125018F-0847-4360-889A-A6396523E99E}" dt="2022-07-12T13:19:11.423" v="3048"/>
          <ac:picMkLst>
            <pc:docMk/>
            <pc:sldMk cId="4285127156" sldId="288"/>
            <ac:picMk id="33" creationId="{C9494458-4A17-B194-B82F-5CA244C0D7AF}"/>
          </ac:picMkLst>
        </pc:picChg>
        <pc:picChg chg="add del mod">
          <ac:chgData name="Chloé Julie Charlotte Canavate" userId="a7bbf622-9e81-474e-9095-9598add3c9d2" providerId="ADAL" clId="{3125018F-0847-4360-889A-A6396523E99E}" dt="2022-07-12T13:19:11.423" v="3048"/>
          <ac:picMkLst>
            <pc:docMk/>
            <pc:sldMk cId="4285127156" sldId="288"/>
            <ac:picMk id="35" creationId="{A3C51ABD-3BAB-DB1C-9611-520280892D2D}"/>
          </ac:picMkLst>
        </pc:picChg>
      </pc:sldChg>
      <pc:sldChg chg="delSp del mod">
        <pc:chgData name="Chloé Julie Charlotte Canavate" userId="a7bbf622-9e81-474e-9095-9598add3c9d2" providerId="ADAL" clId="{3125018F-0847-4360-889A-A6396523E99E}" dt="2022-07-12T11:56:43.850" v="1884" actId="47"/>
        <pc:sldMkLst>
          <pc:docMk/>
          <pc:sldMk cId="1378627293" sldId="289"/>
        </pc:sldMkLst>
        <pc:spChg chg="del">
          <ac:chgData name="Chloé Julie Charlotte Canavate" userId="a7bbf622-9e81-474e-9095-9598add3c9d2" providerId="ADAL" clId="{3125018F-0847-4360-889A-A6396523E99E}" dt="2022-07-12T09:27:21.091" v="118" actId="478"/>
          <ac:spMkLst>
            <pc:docMk/>
            <pc:sldMk cId="1378627293" sldId="289"/>
            <ac:spMk id="4" creationId="{32E8DF3F-D925-42CD-B051-416D48B5DF10}"/>
          </ac:spMkLst>
        </pc:spChg>
      </pc:sldChg>
      <pc:sldChg chg="addSp delSp modSp mod">
        <pc:chgData name="Chloé Julie Charlotte Canavate" userId="a7bbf622-9e81-474e-9095-9598add3c9d2" providerId="ADAL" clId="{3125018F-0847-4360-889A-A6396523E99E}" dt="2022-07-12T11:58:30.164" v="1898" actId="478"/>
        <pc:sldMkLst>
          <pc:docMk/>
          <pc:sldMk cId="3219366404" sldId="290"/>
        </pc:sldMkLst>
        <pc:spChg chg="add del mod">
          <ac:chgData name="Chloé Julie Charlotte Canavate" userId="a7bbf622-9e81-474e-9095-9598add3c9d2" providerId="ADAL" clId="{3125018F-0847-4360-889A-A6396523E99E}" dt="2022-07-12T11:58:30.164" v="1898" actId="478"/>
          <ac:spMkLst>
            <pc:docMk/>
            <pc:sldMk cId="3219366404" sldId="290"/>
            <ac:spMk id="3" creationId="{29B0E330-DDA2-B398-FA26-0C642222D681}"/>
          </ac:spMkLst>
        </pc:spChg>
        <pc:spChg chg="del">
          <ac:chgData name="Chloé Julie Charlotte Canavate" userId="a7bbf622-9e81-474e-9095-9598add3c9d2" providerId="ADAL" clId="{3125018F-0847-4360-889A-A6396523E99E}" dt="2022-07-12T09:27:41.133" v="121" actId="478"/>
          <ac:spMkLst>
            <pc:docMk/>
            <pc:sldMk cId="3219366404" sldId="290"/>
            <ac:spMk id="4" creationId="{32E8DF3F-D925-42CD-B051-416D48B5DF10}"/>
          </ac:spMkLst>
        </pc:spChg>
        <pc:spChg chg="add mod">
          <ac:chgData name="Chloé Julie Charlotte Canavate" userId="a7bbf622-9e81-474e-9095-9598add3c9d2" providerId="ADAL" clId="{3125018F-0847-4360-889A-A6396523E99E}" dt="2022-07-12T11:58:23.919" v="1896"/>
          <ac:spMkLst>
            <pc:docMk/>
            <pc:sldMk cId="3219366404" sldId="290"/>
            <ac:spMk id="7" creationId="{92F35CC0-9B38-B738-FE0A-633EF22602F3}"/>
          </ac:spMkLst>
        </pc:spChg>
        <pc:spChg chg="del">
          <ac:chgData name="Chloé Julie Charlotte Canavate" userId="a7bbf622-9e81-474e-9095-9598add3c9d2" providerId="ADAL" clId="{3125018F-0847-4360-889A-A6396523E99E}" dt="2022-07-12T11:58:26.235" v="1897" actId="478"/>
          <ac:spMkLst>
            <pc:docMk/>
            <pc:sldMk cId="3219366404" sldId="290"/>
            <ac:spMk id="22" creationId="{00FCDB3A-BFF5-AF14-ADA7-E66FD58DAE29}"/>
          </ac:spMkLst>
        </pc:spChg>
      </pc:sldChg>
      <pc:sldChg chg="addSp delSp modSp mod">
        <pc:chgData name="Chloé Julie Charlotte Canavate" userId="a7bbf622-9e81-474e-9095-9598add3c9d2" providerId="ADAL" clId="{3125018F-0847-4360-889A-A6396523E99E}" dt="2022-07-12T11:59:44.138" v="1908" actId="478"/>
        <pc:sldMkLst>
          <pc:docMk/>
          <pc:sldMk cId="3801310453" sldId="291"/>
        </pc:sldMkLst>
        <pc:spChg chg="add del mod">
          <ac:chgData name="Chloé Julie Charlotte Canavate" userId="a7bbf622-9e81-474e-9095-9598add3c9d2" providerId="ADAL" clId="{3125018F-0847-4360-889A-A6396523E99E}" dt="2022-07-12T11:59:41.908" v="1907" actId="478"/>
          <ac:spMkLst>
            <pc:docMk/>
            <pc:sldMk cId="3801310453" sldId="291"/>
            <ac:spMk id="2" creationId="{C6785AE7-8B00-486C-9A8C-F571C93177E4}"/>
          </ac:spMkLst>
        </pc:spChg>
        <pc:spChg chg="del">
          <ac:chgData name="Chloé Julie Charlotte Canavate" userId="a7bbf622-9e81-474e-9095-9598add3c9d2" providerId="ADAL" clId="{3125018F-0847-4360-889A-A6396523E99E}" dt="2022-07-12T09:27:49.025" v="122" actId="478"/>
          <ac:spMkLst>
            <pc:docMk/>
            <pc:sldMk cId="3801310453" sldId="291"/>
            <ac:spMk id="4" creationId="{32E8DF3F-D925-42CD-B051-416D48B5DF10}"/>
          </ac:spMkLst>
        </pc:spChg>
        <pc:spChg chg="add del mod">
          <ac:chgData name="Chloé Julie Charlotte Canavate" userId="a7bbf622-9e81-474e-9095-9598add3c9d2" providerId="ADAL" clId="{3125018F-0847-4360-889A-A6396523E99E}" dt="2022-07-12T11:58:46.063" v="1900" actId="478"/>
          <ac:spMkLst>
            <pc:docMk/>
            <pc:sldMk cId="3801310453" sldId="291"/>
            <ac:spMk id="4" creationId="{D65B1F8F-09CB-67DF-A1B6-6CFA8B361824}"/>
          </ac:spMkLst>
        </pc:spChg>
        <pc:spChg chg="add del mod">
          <ac:chgData name="Chloé Julie Charlotte Canavate" userId="a7bbf622-9e81-474e-9095-9598add3c9d2" providerId="ADAL" clId="{3125018F-0847-4360-889A-A6396523E99E}" dt="2022-07-12T11:59:44.138" v="1908" actId="478"/>
          <ac:spMkLst>
            <pc:docMk/>
            <pc:sldMk cId="3801310453" sldId="291"/>
            <ac:spMk id="8" creationId="{7ECB650C-5173-E09C-E3FD-AC7761062923}"/>
          </ac:spMkLst>
        </pc:spChg>
        <pc:spChg chg="add del mod">
          <ac:chgData name="Chloé Julie Charlotte Canavate" userId="a7bbf622-9e81-474e-9095-9598add3c9d2" providerId="ADAL" clId="{3125018F-0847-4360-889A-A6396523E99E}" dt="2022-07-12T11:59:17.652" v="1903" actId="478"/>
          <ac:spMkLst>
            <pc:docMk/>
            <pc:sldMk cId="3801310453" sldId="291"/>
            <ac:spMk id="16" creationId="{CBB31949-9DB5-B63B-503B-BFF21AA60D67}"/>
          </ac:spMkLst>
        </pc:spChg>
        <pc:spChg chg="add mod">
          <ac:chgData name="Chloé Julie Charlotte Canavate" userId="a7bbf622-9e81-474e-9095-9598add3c9d2" providerId="ADAL" clId="{3125018F-0847-4360-889A-A6396523E99E}" dt="2022-07-12T11:59:36.807" v="1906"/>
          <ac:spMkLst>
            <pc:docMk/>
            <pc:sldMk cId="3801310453" sldId="291"/>
            <ac:spMk id="17" creationId="{29F5A4A8-61E4-4697-954E-C2042B9EFE23}"/>
          </ac:spMkLst>
        </pc:spChg>
      </pc:sldChg>
      <pc:sldChg chg="addSp delSp modSp mod modAnim">
        <pc:chgData name="Chloé Julie Charlotte Canavate" userId="a7bbf622-9e81-474e-9095-9598add3c9d2" providerId="ADAL" clId="{3125018F-0847-4360-889A-A6396523E99E}" dt="2022-07-14T05:23:11.548" v="3940"/>
        <pc:sldMkLst>
          <pc:docMk/>
          <pc:sldMk cId="151799418" sldId="292"/>
        </pc:sldMkLst>
        <pc:spChg chg="add del">
          <ac:chgData name="Chloé Julie Charlotte Canavate" userId="a7bbf622-9e81-474e-9095-9598add3c9d2" providerId="ADAL" clId="{3125018F-0847-4360-889A-A6396523E99E}" dt="2022-07-12T12:01:03.336" v="1957" actId="478"/>
          <ac:spMkLst>
            <pc:docMk/>
            <pc:sldMk cId="151799418" sldId="292"/>
            <ac:spMk id="2" creationId="{C6785AE7-8B00-486C-9A8C-F571C93177E4}"/>
          </ac:spMkLst>
        </pc:spChg>
        <pc:spChg chg="add del mod">
          <ac:chgData name="Chloé Julie Charlotte Canavate" userId="a7bbf622-9e81-474e-9095-9598add3c9d2" providerId="ADAL" clId="{3125018F-0847-4360-889A-A6396523E99E}" dt="2022-07-12T12:00:59.636" v="1956" actId="478"/>
          <ac:spMkLst>
            <pc:docMk/>
            <pc:sldMk cId="151799418" sldId="292"/>
            <ac:spMk id="4" creationId="{0A465235-C414-91F3-4F0E-82D33C51AFF5}"/>
          </ac:spMkLst>
        </pc:spChg>
        <pc:spChg chg="del">
          <ac:chgData name="Chloé Julie Charlotte Canavate" userId="a7bbf622-9e81-474e-9095-9598add3c9d2" providerId="ADAL" clId="{3125018F-0847-4360-889A-A6396523E99E}" dt="2022-07-12T09:27:58.115" v="124" actId="478"/>
          <ac:spMkLst>
            <pc:docMk/>
            <pc:sldMk cId="151799418" sldId="292"/>
            <ac:spMk id="4" creationId="{32E8DF3F-D925-42CD-B051-416D48B5DF10}"/>
          </ac:spMkLst>
        </pc:spChg>
        <pc:spChg chg="add del mod">
          <ac:chgData name="Chloé Julie Charlotte Canavate" userId="a7bbf622-9e81-474e-9095-9598add3c9d2" providerId="ADAL" clId="{3125018F-0847-4360-889A-A6396523E99E}" dt="2022-07-12T12:01:06.221" v="1958" actId="478"/>
          <ac:spMkLst>
            <pc:docMk/>
            <pc:sldMk cId="151799418" sldId="292"/>
            <ac:spMk id="7" creationId="{6923E771-2570-D379-7187-902A9CDE76E6}"/>
          </ac:spMkLst>
        </pc:spChg>
        <pc:spChg chg="add del mod">
          <ac:chgData name="Chloé Julie Charlotte Canavate" userId="a7bbf622-9e81-474e-9095-9598add3c9d2" providerId="ADAL" clId="{3125018F-0847-4360-889A-A6396523E99E}" dt="2022-07-12T12:00:28.247" v="1913"/>
          <ac:spMkLst>
            <pc:docMk/>
            <pc:sldMk cId="151799418" sldId="292"/>
            <ac:spMk id="14" creationId="{91059174-2620-6349-0D8F-1AF1D1EE1D1A}"/>
          </ac:spMkLst>
        </pc:spChg>
        <pc:spChg chg="add del mod">
          <ac:chgData name="Chloé Julie Charlotte Canavate" userId="a7bbf622-9e81-474e-9095-9598add3c9d2" providerId="ADAL" clId="{3125018F-0847-4360-889A-A6396523E99E}" dt="2022-07-12T12:00:58.775" v="1955"/>
          <ac:spMkLst>
            <pc:docMk/>
            <pc:sldMk cId="151799418" sldId="292"/>
            <ac:spMk id="19" creationId="{714C9A5E-B35A-DDAC-04C2-F604BBB31C93}"/>
          </ac:spMkLst>
        </pc:spChg>
        <pc:spChg chg="add mod">
          <ac:chgData name="Chloé Julie Charlotte Canavate" userId="a7bbf622-9e81-474e-9095-9598add3c9d2" providerId="ADAL" clId="{3125018F-0847-4360-889A-A6396523E99E}" dt="2022-07-12T12:01:16.741" v="1987" actId="20577"/>
          <ac:spMkLst>
            <pc:docMk/>
            <pc:sldMk cId="151799418" sldId="292"/>
            <ac:spMk id="20" creationId="{7CE5E5B6-C661-F4E3-8799-73B35B1DF754}"/>
          </ac:spMkLst>
        </pc:spChg>
      </pc:sldChg>
      <pc:sldChg chg="addSp delSp modSp mod ord modShow">
        <pc:chgData name="Chloé Julie Charlotte Canavate" userId="a7bbf622-9e81-474e-9095-9598add3c9d2" providerId="ADAL" clId="{3125018F-0847-4360-889A-A6396523E99E}" dt="2022-07-12T13:55:34.987" v="3901"/>
        <pc:sldMkLst>
          <pc:docMk/>
          <pc:sldMk cId="2203184600" sldId="293"/>
        </pc:sldMkLst>
        <pc:spChg chg="del">
          <ac:chgData name="Chloé Julie Charlotte Canavate" userId="a7bbf622-9e81-474e-9095-9598add3c9d2" providerId="ADAL" clId="{3125018F-0847-4360-889A-A6396523E99E}" dt="2022-07-12T12:01:31.263" v="1988" actId="478"/>
          <ac:spMkLst>
            <pc:docMk/>
            <pc:sldMk cId="2203184600" sldId="293"/>
            <ac:spMk id="2" creationId="{C6785AE7-8B00-486C-9A8C-F571C93177E4}"/>
          </ac:spMkLst>
        </pc:spChg>
        <pc:spChg chg="del">
          <ac:chgData name="Chloé Julie Charlotte Canavate" userId="a7bbf622-9e81-474e-9095-9598add3c9d2" providerId="ADAL" clId="{3125018F-0847-4360-889A-A6396523E99E}" dt="2022-07-12T09:28:06.906" v="125" actId="478"/>
          <ac:spMkLst>
            <pc:docMk/>
            <pc:sldMk cId="2203184600" sldId="293"/>
            <ac:spMk id="4" creationId="{32E8DF3F-D925-42CD-B051-416D48B5DF10}"/>
          </ac:spMkLst>
        </pc:spChg>
        <pc:spChg chg="add del mod">
          <ac:chgData name="Chloé Julie Charlotte Canavate" userId="a7bbf622-9e81-474e-9095-9598add3c9d2" providerId="ADAL" clId="{3125018F-0847-4360-889A-A6396523E99E}" dt="2022-07-12T12:01:33.258" v="1989" actId="478"/>
          <ac:spMkLst>
            <pc:docMk/>
            <pc:sldMk cId="2203184600" sldId="293"/>
            <ac:spMk id="4" creationId="{78BE5D2B-4953-DFBF-C667-F0CF47E22932}"/>
          </ac:spMkLst>
        </pc:spChg>
        <pc:spChg chg="add mod">
          <ac:chgData name="Chloé Julie Charlotte Canavate" userId="a7bbf622-9e81-474e-9095-9598add3c9d2" providerId="ADAL" clId="{3125018F-0847-4360-889A-A6396523E99E}" dt="2022-07-12T12:01:37.597" v="2001" actId="20577"/>
          <ac:spMkLst>
            <pc:docMk/>
            <pc:sldMk cId="2203184600" sldId="293"/>
            <ac:spMk id="8" creationId="{D5C95C34-817F-6ADC-5238-59A468DE9209}"/>
          </ac:spMkLst>
        </pc:spChg>
      </pc:sldChg>
      <pc:sldChg chg="addSp delSp modSp mod ord">
        <pc:chgData name="Chloé Julie Charlotte Canavate" userId="a7bbf622-9e81-474e-9095-9598add3c9d2" providerId="ADAL" clId="{3125018F-0847-4360-889A-A6396523E99E}" dt="2022-07-12T13:34:25.066" v="3576"/>
        <pc:sldMkLst>
          <pc:docMk/>
          <pc:sldMk cId="2999950534" sldId="294"/>
        </pc:sldMkLst>
        <pc:spChg chg="del mod">
          <ac:chgData name="Chloé Julie Charlotte Canavate" userId="a7bbf622-9e81-474e-9095-9598add3c9d2" providerId="ADAL" clId="{3125018F-0847-4360-889A-A6396523E99E}" dt="2022-07-12T11:58:01.669" v="1894" actId="478"/>
          <ac:spMkLst>
            <pc:docMk/>
            <pc:sldMk cId="2999950534" sldId="294"/>
            <ac:spMk id="2" creationId="{C6785AE7-8B00-486C-9A8C-F571C93177E4}"/>
          </ac:spMkLst>
        </pc:spChg>
        <pc:spChg chg="del">
          <ac:chgData name="Chloé Julie Charlotte Canavate" userId="a7bbf622-9e81-474e-9095-9598add3c9d2" providerId="ADAL" clId="{3125018F-0847-4360-889A-A6396523E99E}" dt="2022-07-12T09:27:36.397" v="120" actId="478"/>
          <ac:spMkLst>
            <pc:docMk/>
            <pc:sldMk cId="2999950534" sldId="294"/>
            <ac:spMk id="4" creationId="{32E8DF3F-D925-42CD-B051-416D48B5DF10}"/>
          </ac:spMkLst>
        </pc:spChg>
        <pc:spChg chg="add mod">
          <ac:chgData name="Chloé Julie Charlotte Canavate" userId="a7bbf622-9e81-474e-9095-9598add3c9d2" providerId="ADAL" clId="{3125018F-0847-4360-889A-A6396523E99E}" dt="2022-07-12T11:57:58.659" v="1893"/>
          <ac:spMkLst>
            <pc:docMk/>
            <pc:sldMk cId="2999950534" sldId="294"/>
            <ac:spMk id="10" creationId="{B0FCF939-887C-0A3C-5D30-8742D5135B11}"/>
          </ac:spMkLst>
        </pc:spChg>
      </pc:sldChg>
      <pc:sldChg chg="mod modShow">
        <pc:chgData name="Chloé Julie Charlotte Canavate" userId="a7bbf622-9e81-474e-9095-9598add3c9d2" providerId="ADAL" clId="{3125018F-0847-4360-889A-A6396523E99E}" dt="2022-07-12T13:34:04.581" v="3574" actId="729"/>
        <pc:sldMkLst>
          <pc:docMk/>
          <pc:sldMk cId="2714229153" sldId="295"/>
        </pc:sldMkLst>
      </pc:sldChg>
      <pc:sldChg chg="addSp delSp modSp mod">
        <pc:chgData name="Chloé Julie Charlotte Canavate" userId="a7bbf622-9e81-474e-9095-9598add3c9d2" providerId="ADAL" clId="{3125018F-0847-4360-889A-A6396523E99E}" dt="2022-07-12T11:59:58.860" v="1911" actId="478"/>
        <pc:sldMkLst>
          <pc:docMk/>
          <pc:sldMk cId="3632883391" sldId="296"/>
        </pc:sldMkLst>
        <pc:spChg chg="del">
          <ac:chgData name="Chloé Julie Charlotte Canavate" userId="a7bbf622-9e81-474e-9095-9598add3c9d2" providerId="ADAL" clId="{3125018F-0847-4360-889A-A6396523E99E}" dt="2022-07-12T11:59:57.340" v="1910" actId="478"/>
          <ac:spMkLst>
            <pc:docMk/>
            <pc:sldMk cId="3632883391" sldId="296"/>
            <ac:spMk id="2" creationId="{C6785AE7-8B00-486C-9A8C-F571C93177E4}"/>
          </ac:spMkLst>
        </pc:spChg>
        <pc:spChg chg="del">
          <ac:chgData name="Chloé Julie Charlotte Canavate" userId="a7bbf622-9e81-474e-9095-9598add3c9d2" providerId="ADAL" clId="{3125018F-0847-4360-889A-A6396523E99E}" dt="2022-07-12T09:27:53.236" v="123" actId="478"/>
          <ac:spMkLst>
            <pc:docMk/>
            <pc:sldMk cId="3632883391" sldId="296"/>
            <ac:spMk id="4" creationId="{32E8DF3F-D925-42CD-B051-416D48B5DF10}"/>
          </ac:spMkLst>
        </pc:spChg>
        <pc:spChg chg="add del mod">
          <ac:chgData name="Chloé Julie Charlotte Canavate" userId="a7bbf622-9e81-474e-9095-9598add3c9d2" providerId="ADAL" clId="{3125018F-0847-4360-889A-A6396523E99E}" dt="2022-07-12T11:59:58.860" v="1911" actId="478"/>
          <ac:spMkLst>
            <pc:docMk/>
            <pc:sldMk cId="3632883391" sldId="296"/>
            <ac:spMk id="4" creationId="{851FA43F-EFE4-20D5-E95A-C17370CABCBA}"/>
          </ac:spMkLst>
        </pc:spChg>
        <pc:spChg chg="add mod">
          <ac:chgData name="Chloé Julie Charlotte Canavate" userId="a7bbf622-9e81-474e-9095-9598add3c9d2" providerId="ADAL" clId="{3125018F-0847-4360-889A-A6396523E99E}" dt="2022-07-12T11:59:53.911" v="1909"/>
          <ac:spMkLst>
            <pc:docMk/>
            <pc:sldMk cId="3632883391" sldId="296"/>
            <ac:spMk id="7" creationId="{129C5AA6-6278-347A-6EF7-C1D5778DE4B0}"/>
          </ac:spMkLst>
        </pc:spChg>
      </pc:sldChg>
      <pc:sldChg chg="delSp modSp mod">
        <pc:chgData name="Chloé Julie Charlotte Canavate" userId="a7bbf622-9e81-474e-9095-9598add3c9d2" providerId="ADAL" clId="{3125018F-0847-4360-889A-A6396523E99E}" dt="2022-07-12T09:26:22.551" v="111" actId="478"/>
        <pc:sldMkLst>
          <pc:docMk/>
          <pc:sldMk cId="3011129314" sldId="297"/>
        </pc:sldMkLst>
        <pc:spChg chg="del mod">
          <ac:chgData name="Chloé Julie Charlotte Canavate" userId="a7bbf622-9e81-474e-9095-9598add3c9d2" providerId="ADAL" clId="{3125018F-0847-4360-889A-A6396523E99E}" dt="2022-07-12T09:26:22.551" v="111" actId="478"/>
          <ac:spMkLst>
            <pc:docMk/>
            <pc:sldMk cId="3011129314" sldId="297"/>
            <ac:spMk id="50" creationId="{EE6862AA-9222-4933-821A-535525E24629}"/>
          </ac:spMkLst>
        </pc:spChg>
      </pc:sldChg>
      <pc:sldChg chg="addSp delSp modSp add mod">
        <pc:chgData name="Chloé Julie Charlotte Canavate" userId="a7bbf622-9e81-474e-9095-9598add3c9d2" providerId="ADAL" clId="{3125018F-0847-4360-889A-A6396523E99E}" dt="2022-07-12T13:07:09.350" v="2998" actId="20577"/>
        <pc:sldMkLst>
          <pc:docMk/>
          <pc:sldMk cId="3633460246" sldId="298"/>
        </pc:sldMkLst>
        <pc:spChg chg="mod">
          <ac:chgData name="Chloé Julie Charlotte Canavate" userId="a7bbf622-9e81-474e-9095-9598add3c9d2" providerId="ADAL" clId="{3125018F-0847-4360-889A-A6396523E99E}" dt="2022-07-12T13:07:09.350" v="2998" actId="20577"/>
          <ac:spMkLst>
            <pc:docMk/>
            <pc:sldMk cId="3633460246" sldId="298"/>
            <ac:spMk id="2" creationId="{C6785AE7-8B00-486C-9A8C-F571C93177E4}"/>
          </ac:spMkLst>
        </pc:spChg>
        <pc:spChg chg="del">
          <ac:chgData name="Chloé Julie Charlotte Canavate" userId="a7bbf622-9e81-474e-9095-9598add3c9d2" providerId="ADAL" clId="{3125018F-0847-4360-889A-A6396523E99E}" dt="2022-07-12T09:27:10.219" v="117" actId="478"/>
          <ac:spMkLst>
            <pc:docMk/>
            <pc:sldMk cId="3633460246" sldId="298"/>
            <ac:spMk id="4" creationId="{32E8DF3F-D925-42CD-B051-416D48B5DF10}"/>
          </ac:spMkLst>
        </pc:spChg>
        <pc:spChg chg="del">
          <ac:chgData name="Chloé Julie Charlotte Canavate" userId="a7bbf622-9e81-474e-9095-9598add3c9d2" providerId="ADAL" clId="{3125018F-0847-4360-889A-A6396523E99E}" dt="2022-07-12T13:02:08.328" v="2899" actId="478"/>
          <ac:spMkLst>
            <pc:docMk/>
            <pc:sldMk cId="3633460246" sldId="298"/>
            <ac:spMk id="8" creationId="{064619EE-A370-68AB-4517-2EDBA2701AB6}"/>
          </ac:spMkLst>
        </pc:spChg>
        <pc:spChg chg="add mod">
          <ac:chgData name="Chloé Julie Charlotte Canavate" userId="a7bbf622-9e81-474e-9095-9598add3c9d2" providerId="ADAL" clId="{3125018F-0847-4360-889A-A6396523E99E}" dt="2022-07-12T13:03:35.435" v="2911" actId="1076"/>
          <ac:spMkLst>
            <pc:docMk/>
            <pc:sldMk cId="3633460246" sldId="298"/>
            <ac:spMk id="12" creationId="{1F3BFFC8-0414-0292-4D05-2149902C6642}"/>
          </ac:spMkLst>
        </pc:spChg>
        <pc:spChg chg="add mod">
          <ac:chgData name="Chloé Julie Charlotte Canavate" userId="a7bbf622-9e81-474e-9095-9598add3c9d2" providerId="ADAL" clId="{3125018F-0847-4360-889A-A6396523E99E}" dt="2022-07-12T13:06:58.791" v="2990" actId="1037"/>
          <ac:spMkLst>
            <pc:docMk/>
            <pc:sldMk cId="3633460246" sldId="298"/>
            <ac:spMk id="13" creationId="{EA21AFD0-3B51-E0EC-A8AA-F72ADCA9AE7B}"/>
          </ac:spMkLst>
        </pc:spChg>
        <pc:spChg chg="add mod">
          <ac:chgData name="Chloé Julie Charlotte Canavate" userId="a7bbf622-9e81-474e-9095-9598add3c9d2" providerId="ADAL" clId="{3125018F-0847-4360-889A-A6396523E99E}" dt="2022-07-12T13:05:00.960" v="2942" actId="1036"/>
          <ac:spMkLst>
            <pc:docMk/>
            <pc:sldMk cId="3633460246" sldId="298"/>
            <ac:spMk id="14" creationId="{C3901559-B4A3-1C08-9574-EC7CB2C991A5}"/>
          </ac:spMkLst>
        </pc:spChg>
        <pc:spChg chg="add mod">
          <ac:chgData name="Chloé Julie Charlotte Canavate" userId="a7bbf622-9e81-474e-9095-9598add3c9d2" providerId="ADAL" clId="{3125018F-0847-4360-889A-A6396523E99E}" dt="2022-07-12T13:06:09.320" v="2953" actId="208"/>
          <ac:spMkLst>
            <pc:docMk/>
            <pc:sldMk cId="3633460246" sldId="298"/>
            <ac:spMk id="15" creationId="{9B317841-2D68-83F5-9DEF-403AB3981C1B}"/>
          </ac:spMkLst>
        </pc:spChg>
        <pc:spChg chg="add mod">
          <ac:chgData name="Chloé Julie Charlotte Canavate" userId="a7bbf622-9e81-474e-9095-9598add3c9d2" providerId="ADAL" clId="{3125018F-0847-4360-889A-A6396523E99E}" dt="2022-07-12T13:06:27.681" v="2964" actId="207"/>
          <ac:spMkLst>
            <pc:docMk/>
            <pc:sldMk cId="3633460246" sldId="298"/>
            <ac:spMk id="16" creationId="{7291391F-30A4-004C-3BE6-AE36813FF898}"/>
          </ac:spMkLst>
        </pc:spChg>
        <pc:spChg chg="add mod">
          <ac:chgData name="Chloé Julie Charlotte Canavate" userId="a7bbf622-9e81-474e-9095-9598add3c9d2" providerId="ADAL" clId="{3125018F-0847-4360-889A-A6396523E99E}" dt="2022-07-12T13:06:46.795" v="2975" actId="1038"/>
          <ac:spMkLst>
            <pc:docMk/>
            <pc:sldMk cId="3633460246" sldId="298"/>
            <ac:spMk id="17" creationId="{4A7C578F-2560-241B-1A99-49BFEC7CF305}"/>
          </ac:spMkLst>
        </pc:spChg>
        <pc:picChg chg="add mod">
          <ac:chgData name="Chloé Julie Charlotte Canavate" userId="a7bbf622-9e81-474e-9095-9598add3c9d2" providerId="ADAL" clId="{3125018F-0847-4360-889A-A6396523E99E}" dt="2022-07-12T13:03:35.435" v="2911" actId="1076"/>
          <ac:picMkLst>
            <pc:docMk/>
            <pc:sldMk cId="3633460246" sldId="298"/>
            <ac:picMk id="6" creationId="{42928538-5D9E-2AFF-5108-5A724B46F271}"/>
          </ac:picMkLst>
        </pc:picChg>
        <pc:picChg chg="add mod">
          <ac:chgData name="Chloé Julie Charlotte Canavate" userId="a7bbf622-9e81-474e-9095-9598add3c9d2" providerId="ADAL" clId="{3125018F-0847-4360-889A-A6396523E99E}" dt="2022-07-12T13:03:35.435" v="2911" actId="1076"/>
          <ac:picMkLst>
            <pc:docMk/>
            <pc:sldMk cId="3633460246" sldId="298"/>
            <ac:picMk id="7" creationId="{37185E94-B625-A090-624D-8CC0551D0E10}"/>
          </ac:picMkLst>
        </pc:picChg>
        <pc:picChg chg="add mod">
          <ac:chgData name="Chloé Julie Charlotte Canavate" userId="a7bbf622-9e81-474e-9095-9598add3c9d2" providerId="ADAL" clId="{3125018F-0847-4360-889A-A6396523E99E}" dt="2022-07-12T13:03:35.435" v="2911" actId="1076"/>
          <ac:picMkLst>
            <pc:docMk/>
            <pc:sldMk cId="3633460246" sldId="298"/>
            <ac:picMk id="9" creationId="{44C63487-F81E-8CB0-1818-119CF8D9C0C7}"/>
          </ac:picMkLst>
        </pc:picChg>
        <pc:picChg chg="add mod ord">
          <ac:chgData name="Chloé Julie Charlotte Canavate" userId="a7bbf622-9e81-474e-9095-9598add3c9d2" providerId="ADAL" clId="{3125018F-0847-4360-889A-A6396523E99E}" dt="2022-07-12T13:05:38.716" v="2952" actId="167"/>
          <ac:picMkLst>
            <pc:docMk/>
            <pc:sldMk cId="3633460246" sldId="298"/>
            <ac:picMk id="10" creationId="{12BC6CF8-9CD2-8A7E-1583-DB35792D2562}"/>
          </ac:picMkLst>
        </pc:picChg>
        <pc:picChg chg="mod modCrop">
          <ac:chgData name="Chloé Julie Charlotte Canavate" userId="a7bbf622-9e81-474e-9095-9598add3c9d2" providerId="ADAL" clId="{3125018F-0847-4360-889A-A6396523E99E}" dt="2022-07-12T13:03:35.435" v="2911" actId="1076"/>
          <ac:picMkLst>
            <pc:docMk/>
            <pc:sldMk cId="3633460246" sldId="298"/>
            <ac:picMk id="11" creationId="{923F020C-41CB-F1CC-5370-D2106986A430}"/>
          </ac:picMkLst>
        </pc:picChg>
        <pc:cxnChg chg="add del mod">
          <ac:chgData name="Chloé Julie Charlotte Canavate" userId="a7bbf622-9e81-474e-9095-9598add3c9d2" providerId="ADAL" clId="{3125018F-0847-4360-889A-A6396523E99E}" dt="2022-07-12T13:02:44.045" v="2903" actId="478"/>
          <ac:cxnSpMkLst>
            <pc:docMk/>
            <pc:sldMk cId="3633460246" sldId="298"/>
            <ac:cxnSpMk id="4" creationId="{1C2EA10C-BDF1-B9D9-150A-8E5A62D5C266}"/>
          </ac:cxnSpMkLst>
        </pc:cxnChg>
      </pc:sldChg>
      <pc:sldChg chg="add ord">
        <pc:chgData name="Chloé Julie Charlotte Canavate" userId="a7bbf622-9e81-474e-9095-9598add3c9d2" providerId="ADAL" clId="{3125018F-0847-4360-889A-A6396523E99E}" dt="2022-07-12T09:28:25.176" v="128"/>
        <pc:sldMkLst>
          <pc:docMk/>
          <pc:sldMk cId="531562680" sldId="299"/>
        </pc:sldMkLst>
      </pc:sldChg>
      <pc:sldChg chg="addSp delSp modSp add mod">
        <pc:chgData name="Chloé Julie Charlotte Canavate" userId="a7bbf622-9e81-474e-9095-9598add3c9d2" providerId="ADAL" clId="{3125018F-0847-4360-889A-A6396523E99E}" dt="2022-07-12T11:49:43.301" v="1842" actId="20577"/>
        <pc:sldMkLst>
          <pc:docMk/>
          <pc:sldMk cId="3843116995" sldId="300"/>
        </pc:sldMkLst>
        <pc:spChg chg="mod">
          <ac:chgData name="Chloé Julie Charlotte Canavate" userId="a7bbf622-9e81-474e-9095-9598add3c9d2" providerId="ADAL" clId="{3125018F-0847-4360-889A-A6396523E99E}" dt="2022-07-12T11:49:43.301" v="1842" actId="20577"/>
          <ac:spMkLst>
            <pc:docMk/>
            <pc:sldMk cId="3843116995" sldId="300"/>
            <ac:spMk id="2" creationId="{C6785AE7-8B00-486C-9A8C-F571C93177E4}"/>
          </ac:spMkLst>
        </pc:spChg>
        <pc:spChg chg="mod ord">
          <ac:chgData name="Chloé Julie Charlotte Canavate" userId="a7bbf622-9e81-474e-9095-9598add3c9d2" providerId="ADAL" clId="{3125018F-0847-4360-889A-A6396523E99E}" dt="2022-07-12T09:51:37.711" v="318" actId="1036"/>
          <ac:spMkLst>
            <pc:docMk/>
            <pc:sldMk cId="3843116995" sldId="300"/>
            <ac:spMk id="3" creationId="{8E4DDB41-396A-3B8C-BF8F-F9A80A81B7EE}"/>
          </ac:spMkLst>
        </pc:spChg>
        <pc:spChg chg="add del mod">
          <ac:chgData name="Chloé Julie Charlotte Canavate" userId="a7bbf622-9e81-474e-9095-9598add3c9d2" providerId="ADAL" clId="{3125018F-0847-4360-889A-A6396523E99E}" dt="2022-07-12T09:41:44.360" v="169" actId="478"/>
          <ac:spMkLst>
            <pc:docMk/>
            <pc:sldMk cId="3843116995" sldId="300"/>
            <ac:spMk id="4" creationId="{694DD4F6-70A2-A6B3-0E7C-65AADF5BEDF6}"/>
          </ac:spMkLst>
        </pc:spChg>
        <pc:spChg chg="add mod">
          <ac:chgData name="Chloé Julie Charlotte Canavate" userId="a7bbf622-9e81-474e-9095-9598add3c9d2" providerId="ADAL" clId="{3125018F-0847-4360-889A-A6396523E99E}" dt="2022-07-12T09:51:37.711" v="318" actId="1036"/>
          <ac:spMkLst>
            <pc:docMk/>
            <pc:sldMk cId="3843116995" sldId="300"/>
            <ac:spMk id="5" creationId="{6D42A74E-A429-86E9-177F-6DAB95BAF7C5}"/>
          </ac:spMkLst>
        </pc:spChg>
        <pc:spChg chg="add mod">
          <ac:chgData name="Chloé Julie Charlotte Canavate" userId="a7bbf622-9e81-474e-9095-9598add3c9d2" providerId="ADAL" clId="{3125018F-0847-4360-889A-A6396523E99E}" dt="2022-07-12T09:51:37.711" v="318" actId="1036"/>
          <ac:spMkLst>
            <pc:docMk/>
            <pc:sldMk cId="3843116995" sldId="300"/>
            <ac:spMk id="6" creationId="{D6E51821-8791-B080-B51B-3E41B385A153}"/>
          </ac:spMkLst>
        </pc:spChg>
        <pc:spChg chg="add mod">
          <ac:chgData name="Chloé Julie Charlotte Canavate" userId="a7bbf622-9e81-474e-9095-9598add3c9d2" providerId="ADAL" clId="{3125018F-0847-4360-889A-A6396523E99E}" dt="2022-07-12T09:51:37.711" v="318" actId="1036"/>
          <ac:spMkLst>
            <pc:docMk/>
            <pc:sldMk cId="3843116995" sldId="300"/>
            <ac:spMk id="7" creationId="{B0AF3198-DD91-B573-27BE-973C262FE652}"/>
          </ac:spMkLst>
        </pc:spChg>
        <pc:spChg chg="add mod ord">
          <ac:chgData name="Chloé Julie Charlotte Canavate" userId="a7bbf622-9e81-474e-9095-9598add3c9d2" providerId="ADAL" clId="{3125018F-0847-4360-889A-A6396523E99E}" dt="2022-07-12T09:51:37.711" v="318" actId="1036"/>
          <ac:spMkLst>
            <pc:docMk/>
            <pc:sldMk cId="3843116995" sldId="300"/>
            <ac:spMk id="16" creationId="{D274BF1B-5EF5-C106-0E99-B7B63F224E90}"/>
          </ac:spMkLst>
        </pc:spChg>
        <pc:spChg chg="add mod">
          <ac:chgData name="Chloé Julie Charlotte Canavate" userId="a7bbf622-9e81-474e-9095-9598add3c9d2" providerId="ADAL" clId="{3125018F-0847-4360-889A-A6396523E99E}" dt="2022-07-12T09:52:41.252" v="340" actId="113"/>
          <ac:spMkLst>
            <pc:docMk/>
            <pc:sldMk cId="3843116995" sldId="300"/>
            <ac:spMk id="19" creationId="{ABBAC01F-C4EC-ABF3-47F3-BBAE42F34022}"/>
          </ac:spMkLst>
        </pc:spChg>
        <pc:spChg chg="add mod ord">
          <ac:chgData name="Chloé Julie Charlotte Canavate" userId="a7bbf622-9e81-474e-9095-9598add3c9d2" providerId="ADAL" clId="{3125018F-0847-4360-889A-A6396523E99E}" dt="2022-07-12T10:15:44.495" v="510" actId="208"/>
          <ac:spMkLst>
            <pc:docMk/>
            <pc:sldMk cId="3843116995" sldId="300"/>
            <ac:spMk id="20" creationId="{C8689798-E037-59BB-F2DE-3CFE6CB14DB0}"/>
          </ac:spMkLst>
        </pc:spChg>
        <pc:spChg chg="add mod ord">
          <ac:chgData name="Chloé Julie Charlotte Canavate" userId="a7bbf622-9e81-474e-9095-9598add3c9d2" providerId="ADAL" clId="{3125018F-0847-4360-889A-A6396523E99E}" dt="2022-07-12T09:51:37.711" v="318" actId="1036"/>
          <ac:spMkLst>
            <pc:docMk/>
            <pc:sldMk cId="3843116995" sldId="300"/>
            <ac:spMk id="21" creationId="{EE7641FD-2E54-CD56-73C7-8E1528750013}"/>
          </ac:spMkLst>
        </pc:spChg>
        <pc:spChg chg="add mod">
          <ac:chgData name="Chloé Julie Charlotte Canavate" userId="a7bbf622-9e81-474e-9095-9598add3c9d2" providerId="ADAL" clId="{3125018F-0847-4360-889A-A6396523E99E}" dt="2022-07-12T10:15:48.864" v="511" actId="207"/>
          <ac:spMkLst>
            <pc:docMk/>
            <pc:sldMk cId="3843116995" sldId="300"/>
            <ac:spMk id="22" creationId="{131B7F57-DD89-3B4B-0297-EC1CB38E5CF9}"/>
          </ac:spMkLst>
        </pc:spChg>
        <pc:spChg chg="add mod">
          <ac:chgData name="Chloé Julie Charlotte Canavate" userId="a7bbf622-9e81-474e-9095-9598add3c9d2" providerId="ADAL" clId="{3125018F-0847-4360-889A-A6396523E99E}" dt="2022-07-12T09:52:53.712" v="343" actId="1076"/>
          <ac:spMkLst>
            <pc:docMk/>
            <pc:sldMk cId="3843116995" sldId="300"/>
            <ac:spMk id="24" creationId="{7A6AD52D-401E-1A27-CEFE-84425C9640E7}"/>
          </ac:spMkLst>
        </pc:spChg>
        <pc:spChg chg="del">
          <ac:chgData name="Chloé Julie Charlotte Canavate" userId="a7bbf622-9e81-474e-9095-9598add3c9d2" providerId="ADAL" clId="{3125018F-0847-4360-889A-A6396523E99E}" dt="2022-07-12T09:37:52.447" v="147" actId="478"/>
          <ac:spMkLst>
            <pc:docMk/>
            <pc:sldMk cId="3843116995" sldId="300"/>
            <ac:spMk id="28" creationId="{ACDC6862-4848-5D49-4ED8-014977C2D6EB}"/>
          </ac:spMkLst>
        </pc:spChg>
        <pc:spChg chg="del">
          <ac:chgData name="Chloé Julie Charlotte Canavate" userId="a7bbf622-9e81-474e-9095-9598add3c9d2" providerId="ADAL" clId="{3125018F-0847-4360-889A-A6396523E99E}" dt="2022-07-12T09:37:48.514" v="145" actId="478"/>
          <ac:spMkLst>
            <pc:docMk/>
            <pc:sldMk cId="3843116995" sldId="300"/>
            <ac:spMk id="34" creationId="{7CA64BA0-DBE1-F17B-34B6-C20217BF23DD}"/>
          </ac:spMkLst>
        </pc:spChg>
        <pc:spChg chg="mod ord">
          <ac:chgData name="Chloé Julie Charlotte Canavate" userId="a7bbf622-9e81-474e-9095-9598add3c9d2" providerId="ADAL" clId="{3125018F-0847-4360-889A-A6396523E99E}" dt="2022-07-12T09:52:38.077" v="339" actId="113"/>
          <ac:spMkLst>
            <pc:docMk/>
            <pc:sldMk cId="3843116995" sldId="300"/>
            <ac:spMk id="35" creationId="{0D880D67-556A-A6F4-7EEF-6DAADD31F345}"/>
          </ac:spMkLst>
        </pc:spChg>
        <pc:spChg chg="del">
          <ac:chgData name="Chloé Julie Charlotte Canavate" userId="a7bbf622-9e81-474e-9095-9598add3c9d2" providerId="ADAL" clId="{3125018F-0847-4360-889A-A6396523E99E}" dt="2022-07-12T09:37:56.564" v="149" actId="478"/>
          <ac:spMkLst>
            <pc:docMk/>
            <pc:sldMk cId="3843116995" sldId="300"/>
            <ac:spMk id="36" creationId="{DD478FD4-6EA3-8347-5839-63F9A62BDEC9}"/>
          </ac:spMkLst>
        </pc:spChg>
        <pc:picChg chg="mod">
          <ac:chgData name="Chloé Julie Charlotte Canavate" userId="a7bbf622-9e81-474e-9095-9598add3c9d2" providerId="ADAL" clId="{3125018F-0847-4360-889A-A6396523E99E}" dt="2022-07-12T09:51:37.711" v="318" actId="1036"/>
          <ac:picMkLst>
            <pc:docMk/>
            <pc:sldMk cId="3843116995" sldId="300"/>
            <ac:picMk id="18" creationId="{8094C1AE-2B4C-C9CF-20DE-3D14583B5A83}"/>
          </ac:picMkLst>
        </pc:picChg>
        <pc:cxnChg chg="del">
          <ac:chgData name="Chloé Julie Charlotte Canavate" userId="a7bbf622-9e81-474e-9095-9598add3c9d2" providerId="ADAL" clId="{3125018F-0847-4360-889A-A6396523E99E}" dt="2022-07-12T09:37:54.397" v="148" actId="478"/>
          <ac:cxnSpMkLst>
            <pc:docMk/>
            <pc:sldMk cId="3843116995" sldId="300"/>
            <ac:cxnSpMk id="23" creationId="{80FBE4FE-7A23-2C33-5C0E-7E78F11FF048}"/>
          </ac:cxnSpMkLst>
        </pc:cxnChg>
        <pc:cxnChg chg="del">
          <ac:chgData name="Chloé Julie Charlotte Canavate" userId="a7bbf622-9e81-474e-9095-9598add3c9d2" providerId="ADAL" clId="{3125018F-0847-4360-889A-A6396523E99E}" dt="2022-07-12T09:37:50.338" v="146" actId="478"/>
          <ac:cxnSpMkLst>
            <pc:docMk/>
            <pc:sldMk cId="3843116995" sldId="300"/>
            <ac:cxnSpMk id="25" creationId="{2E46FAE3-0AAA-9D30-ED1E-E1811BF84850}"/>
          </ac:cxnSpMkLst>
        </pc:cxnChg>
        <pc:cxnChg chg="del mod">
          <ac:chgData name="Chloé Julie Charlotte Canavate" userId="a7bbf622-9e81-474e-9095-9598add3c9d2" providerId="ADAL" clId="{3125018F-0847-4360-889A-A6396523E99E}" dt="2022-07-12T09:35:08.999" v="136" actId="478"/>
          <ac:cxnSpMkLst>
            <pc:docMk/>
            <pc:sldMk cId="3843116995" sldId="300"/>
            <ac:cxnSpMk id="27" creationId="{BD56A37C-D6C0-896E-A9DE-AA5A2C73BBE7}"/>
          </ac:cxnSpMkLst>
        </pc:cxnChg>
        <pc:cxnChg chg="del mod">
          <ac:chgData name="Chloé Julie Charlotte Canavate" userId="a7bbf622-9e81-474e-9095-9598add3c9d2" providerId="ADAL" clId="{3125018F-0847-4360-889A-A6396523E99E}" dt="2022-07-12T09:37:44.787" v="144" actId="478"/>
          <ac:cxnSpMkLst>
            <pc:docMk/>
            <pc:sldMk cId="3843116995" sldId="300"/>
            <ac:cxnSpMk id="30" creationId="{7EBC5E13-1FAD-AE19-BFB2-F9BAB3753254}"/>
          </ac:cxnSpMkLst>
        </pc:cxnChg>
      </pc:sldChg>
      <pc:sldChg chg="addSp delSp modSp add mod">
        <pc:chgData name="Chloé Julie Charlotte Canavate" userId="a7bbf622-9e81-474e-9095-9598add3c9d2" providerId="ADAL" clId="{3125018F-0847-4360-889A-A6396523E99E}" dt="2022-07-12T13:08:44.502" v="3001" actId="1076"/>
        <pc:sldMkLst>
          <pc:docMk/>
          <pc:sldMk cId="2161304811" sldId="301"/>
        </pc:sldMkLst>
        <pc:spChg chg="mod">
          <ac:chgData name="Chloé Julie Charlotte Canavate" userId="a7bbf622-9e81-474e-9095-9598add3c9d2" providerId="ADAL" clId="{3125018F-0847-4360-889A-A6396523E99E}" dt="2022-07-12T10:31:25.054" v="644" actId="113"/>
          <ac:spMkLst>
            <pc:docMk/>
            <pc:sldMk cId="2161304811" sldId="301"/>
            <ac:spMk id="2" creationId="{00000000-0000-0000-0000-000000000000}"/>
          </ac:spMkLst>
        </pc:spChg>
        <pc:spChg chg="del">
          <ac:chgData name="Chloé Julie Charlotte Canavate" userId="a7bbf622-9e81-474e-9095-9598add3c9d2" providerId="ADAL" clId="{3125018F-0847-4360-889A-A6396523E99E}" dt="2022-07-12T09:56:40.122" v="348" actId="478"/>
          <ac:spMkLst>
            <pc:docMk/>
            <pc:sldMk cId="2161304811" sldId="301"/>
            <ac:spMk id="4" creationId="{F5DB627B-A258-4CB9-9807-FE1A7AB8CC4C}"/>
          </ac:spMkLst>
        </pc:spChg>
        <pc:spChg chg="mod">
          <ac:chgData name="Chloé Julie Charlotte Canavate" userId="a7bbf622-9e81-474e-9095-9598add3c9d2" providerId="ADAL" clId="{3125018F-0847-4360-889A-A6396523E99E}" dt="2022-07-12T10:35:14.813" v="755" actId="207"/>
          <ac:spMkLst>
            <pc:docMk/>
            <pc:sldMk cId="2161304811" sldId="301"/>
            <ac:spMk id="11" creationId="{0EDC8AB5-9102-4AC1-9C97-57E3B92FD608}"/>
          </ac:spMkLst>
        </pc:spChg>
        <pc:spChg chg="add mod">
          <ac:chgData name="Chloé Julie Charlotte Canavate" userId="a7bbf622-9e81-474e-9095-9598add3c9d2" providerId="ADAL" clId="{3125018F-0847-4360-889A-A6396523E99E}" dt="2022-07-12T10:13:18.145" v="489" actId="1036"/>
          <ac:spMkLst>
            <pc:docMk/>
            <pc:sldMk cId="2161304811" sldId="301"/>
            <ac:spMk id="19" creationId="{8A91FF3E-518E-CCCB-F4CE-AA5F8B446701}"/>
          </ac:spMkLst>
        </pc:spChg>
        <pc:spChg chg="add mod">
          <ac:chgData name="Chloé Julie Charlotte Canavate" userId="a7bbf622-9e81-474e-9095-9598add3c9d2" providerId="ADAL" clId="{3125018F-0847-4360-889A-A6396523E99E}" dt="2022-07-12T10:13:18.145" v="489" actId="1036"/>
          <ac:spMkLst>
            <pc:docMk/>
            <pc:sldMk cId="2161304811" sldId="301"/>
            <ac:spMk id="20" creationId="{CF691924-7C39-7383-42C6-7C8E1C632BFA}"/>
          </ac:spMkLst>
        </pc:spChg>
        <pc:spChg chg="mod">
          <ac:chgData name="Chloé Julie Charlotte Canavate" userId="a7bbf622-9e81-474e-9095-9598add3c9d2" providerId="ADAL" clId="{3125018F-0847-4360-889A-A6396523E99E}" dt="2022-07-12T10:36:03.782" v="761" actId="207"/>
          <ac:spMkLst>
            <pc:docMk/>
            <pc:sldMk cId="2161304811" sldId="301"/>
            <ac:spMk id="21" creationId="{6C64F136-CFE1-4313-96C3-2810D0C0ECC1}"/>
          </ac:spMkLst>
        </pc:spChg>
        <pc:spChg chg="mod">
          <ac:chgData name="Chloé Julie Charlotte Canavate" userId="a7bbf622-9e81-474e-9095-9598add3c9d2" providerId="ADAL" clId="{3125018F-0847-4360-889A-A6396523E99E}" dt="2022-07-12T13:08:36.775" v="2999" actId="255"/>
          <ac:spMkLst>
            <pc:docMk/>
            <pc:sldMk cId="2161304811" sldId="301"/>
            <ac:spMk id="22" creationId="{A52D73B6-30D2-4202-BE8D-52E359300CBC}"/>
          </ac:spMkLst>
        </pc:spChg>
        <pc:spChg chg="mod">
          <ac:chgData name="Chloé Julie Charlotte Canavate" userId="a7bbf622-9e81-474e-9095-9598add3c9d2" providerId="ADAL" clId="{3125018F-0847-4360-889A-A6396523E99E}" dt="2022-07-12T10:35:14.102" v="754" actId="207"/>
          <ac:spMkLst>
            <pc:docMk/>
            <pc:sldMk cId="2161304811" sldId="301"/>
            <ac:spMk id="24" creationId="{4EBB6D07-156C-4E5D-AE1A-2CE41B2C1302}"/>
          </ac:spMkLst>
        </pc:spChg>
        <pc:spChg chg="add mod">
          <ac:chgData name="Chloé Julie Charlotte Canavate" userId="a7bbf622-9e81-474e-9095-9598add3c9d2" providerId="ADAL" clId="{3125018F-0847-4360-889A-A6396523E99E}" dt="2022-07-12T13:08:44.502" v="3001" actId="1076"/>
          <ac:spMkLst>
            <pc:docMk/>
            <pc:sldMk cId="2161304811" sldId="301"/>
            <ac:spMk id="25" creationId="{F1D6DCC0-AD25-0179-2657-22FDEC1879D0}"/>
          </ac:spMkLst>
        </pc:spChg>
        <pc:spChg chg="del">
          <ac:chgData name="Chloé Julie Charlotte Canavate" userId="a7bbf622-9e81-474e-9095-9598add3c9d2" providerId="ADAL" clId="{3125018F-0847-4360-889A-A6396523E99E}" dt="2022-07-12T09:56:40.122" v="348" actId="478"/>
          <ac:spMkLst>
            <pc:docMk/>
            <pc:sldMk cId="2161304811" sldId="301"/>
            <ac:spMk id="27" creationId="{28ECE99C-AD28-AB2A-DD04-17D1A60B7E1B}"/>
          </ac:spMkLst>
        </pc:spChg>
        <pc:spChg chg="add del mod">
          <ac:chgData name="Chloé Julie Charlotte Canavate" userId="a7bbf622-9e81-474e-9095-9598add3c9d2" providerId="ADAL" clId="{3125018F-0847-4360-889A-A6396523E99E}" dt="2022-07-12T10:08:13.047" v="464"/>
          <ac:spMkLst>
            <pc:docMk/>
            <pc:sldMk cId="2161304811" sldId="301"/>
            <ac:spMk id="28" creationId="{E58671FA-DDA5-7586-B652-5FCAFAA93504}"/>
          </ac:spMkLst>
        </pc:spChg>
        <pc:spChg chg="del">
          <ac:chgData name="Chloé Julie Charlotte Canavate" userId="a7bbf622-9e81-474e-9095-9598add3c9d2" providerId="ADAL" clId="{3125018F-0847-4360-889A-A6396523E99E}" dt="2022-07-12T09:56:40.122" v="348" actId="478"/>
          <ac:spMkLst>
            <pc:docMk/>
            <pc:sldMk cId="2161304811" sldId="301"/>
            <ac:spMk id="29" creationId="{9A054C0B-F6D8-B4CC-677E-4C2AFDF98E61}"/>
          </ac:spMkLst>
        </pc:spChg>
        <pc:grpChg chg="mod">
          <ac:chgData name="Chloé Julie Charlotte Canavate" userId="a7bbf622-9e81-474e-9095-9598add3c9d2" providerId="ADAL" clId="{3125018F-0847-4360-889A-A6396523E99E}" dt="2022-07-12T10:13:18.145" v="489" actId="1036"/>
          <ac:grpSpMkLst>
            <pc:docMk/>
            <pc:sldMk cId="2161304811" sldId="301"/>
            <ac:grpSpMk id="37" creationId="{0E9CB03F-D6EC-4C7C-94EA-303A9BA7E644}"/>
          </ac:grpSpMkLst>
        </pc:grpChg>
        <pc:picChg chg="mod ord">
          <ac:chgData name="Chloé Julie Charlotte Canavate" userId="a7bbf622-9e81-474e-9095-9598add3c9d2" providerId="ADAL" clId="{3125018F-0847-4360-889A-A6396523E99E}" dt="2022-07-12T10:14:44.390" v="509" actId="1035"/>
          <ac:picMkLst>
            <pc:docMk/>
            <pc:sldMk cId="2161304811" sldId="301"/>
            <ac:picMk id="6" creationId="{555DA3E5-CE2F-ABE5-DA51-151FF81544D8}"/>
          </ac:picMkLst>
        </pc:picChg>
        <pc:picChg chg="del">
          <ac:chgData name="Chloé Julie Charlotte Canavate" userId="a7bbf622-9e81-474e-9095-9598add3c9d2" providerId="ADAL" clId="{3125018F-0847-4360-889A-A6396523E99E}" dt="2022-07-12T09:56:41.621" v="349" actId="478"/>
          <ac:picMkLst>
            <pc:docMk/>
            <pc:sldMk cId="2161304811" sldId="301"/>
            <ac:picMk id="9" creationId="{2EA1DE5C-03EF-ECE3-9615-0CF7DDB78A19}"/>
          </ac:picMkLst>
        </pc:picChg>
        <pc:picChg chg="mod">
          <ac:chgData name="Chloé Julie Charlotte Canavate" userId="a7bbf622-9e81-474e-9095-9598add3c9d2" providerId="ADAL" clId="{3125018F-0847-4360-889A-A6396523E99E}" dt="2022-07-12T11:43:35.745" v="1721" actId="207"/>
          <ac:picMkLst>
            <pc:docMk/>
            <pc:sldMk cId="2161304811" sldId="301"/>
            <ac:picMk id="10" creationId="{BB0CA36A-8102-48CC-98DB-5D0FD58CDE34}"/>
          </ac:picMkLst>
        </pc:picChg>
        <pc:picChg chg="add mod">
          <ac:chgData name="Chloé Julie Charlotte Canavate" userId="a7bbf622-9e81-474e-9095-9598add3c9d2" providerId="ADAL" clId="{3125018F-0847-4360-889A-A6396523E99E}" dt="2022-07-12T10:36:30.213" v="765" actId="1038"/>
          <ac:picMkLst>
            <pc:docMk/>
            <pc:sldMk cId="2161304811" sldId="301"/>
            <ac:picMk id="23" creationId="{B1EDBA35-4997-A2D5-CDEF-D328FDCFECD3}"/>
          </ac:picMkLst>
        </pc:picChg>
        <pc:picChg chg="del">
          <ac:chgData name="Chloé Julie Charlotte Canavate" userId="a7bbf622-9e81-474e-9095-9598add3c9d2" providerId="ADAL" clId="{3125018F-0847-4360-889A-A6396523E99E}" dt="2022-07-12T09:56:40.122" v="348" actId="478"/>
          <ac:picMkLst>
            <pc:docMk/>
            <pc:sldMk cId="2161304811" sldId="301"/>
            <ac:picMk id="30" creationId="{1ACF302A-CF17-4320-8416-FC89AC899936}"/>
          </ac:picMkLst>
        </pc:picChg>
        <pc:picChg chg="del">
          <ac:chgData name="Chloé Julie Charlotte Canavate" userId="a7bbf622-9e81-474e-9095-9598add3c9d2" providerId="ADAL" clId="{3125018F-0847-4360-889A-A6396523E99E}" dt="2022-07-12T09:56:44.190" v="350" actId="478"/>
          <ac:picMkLst>
            <pc:docMk/>
            <pc:sldMk cId="2161304811" sldId="301"/>
            <ac:picMk id="58" creationId="{B8FC6F77-56B9-491D-B7D4-6077F6E706F1}"/>
          </ac:picMkLst>
        </pc:picChg>
      </pc:sldChg>
      <pc:sldChg chg="addSp delSp modSp add mod">
        <pc:chgData name="Chloé Julie Charlotte Canavate" userId="a7bbf622-9e81-474e-9095-9598add3c9d2" providerId="ADAL" clId="{3125018F-0847-4360-889A-A6396523E99E}" dt="2022-07-12T11:02:50.470" v="1718" actId="1036"/>
        <pc:sldMkLst>
          <pc:docMk/>
          <pc:sldMk cId="3254695870" sldId="302"/>
        </pc:sldMkLst>
        <pc:spChg chg="add mod">
          <ac:chgData name="Chloé Julie Charlotte Canavate" userId="a7bbf622-9e81-474e-9095-9598add3c9d2" providerId="ADAL" clId="{3125018F-0847-4360-889A-A6396523E99E}" dt="2022-07-12T10:58:09.645" v="1673" actId="1076"/>
          <ac:spMkLst>
            <pc:docMk/>
            <pc:sldMk cId="3254695870" sldId="302"/>
            <ac:spMk id="3" creationId="{9EE79662-1EEE-A057-ECF0-2D83E145DA24}"/>
          </ac:spMkLst>
        </pc:spChg>
        <pc:spChg chg="add mod ord">
          <ac:chgData name="Chloé Julie Charlotte Canavate" userId="a7bbf622-9e81-474e-9095-9598add3c9d2" providerId="ADAL" clId="{3125018F-0847-4360-889A-A6396523E99E}" dt="2022-07-12T10:58:09.645" v="1673" actId="1076"/>
          <ac:spMkLst>
            <pc:docMk/>
            <pc:sldMk cId="3254695870" sldId="302"/>
            <ac:spMk id="6" creationId="{F047365F-0C08-966E-BFB8-46A49E868BB7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7" creationId="{1A052AF4-2249-AA6B-339E-4D1E800B6C17}"/>
          </ac:spMkLst>
        </pc:spChg>
        <pc:spChg chg="add mod">
          <ac:chgData name="Chloé Julie Charlotte Canavate" userId="a7bbf622-9e81-474e-9095-9598add3c9d2" providerId="ADAL" clId="{3125018F-0847-4360-889A-A6396523E99E}" dt="2022-07-12T10:58:09.645" v="1673" actId="1076"/>
          <ac:spMkLst>
            <pc:docMk/>
            <pc:sldMk cId="3254695870" sldId="302"/>
            <ac:spMk id="8" creationId="{F79EFAE0-92AA-0EF0-C3FD-67C4702EC91E}"/>
          </ac:spMkLst>
        </pc:spChg>
        <pc:spChg chg="add mod ord">
          <ac:chgData name="Chloé Julie Charlotte Canavate" userId="a7bbf622-9e81-474e-9095-9598add3c9d2" providerId="ADAL" clId="{3125018F-0847-4360-889A-A6396523E99E}" dt="2022-07-12T10:58:09.645" v="1673" actId="1076"/>
          <ac:spMkLst>
            <pc:docMk/>
            <pc:sldMk cId="3254695870" sldId="302"/>
            <ac:spMk id="9" creationId="{E070C57D-F0EB-1C0D-B1B6-58ACBBE0F67C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11" creationId="{572A1C24-A59C-01EB-236A-E359A3709B61}"/>
          </ac:spMkLst>
        </pc:spChg>
        <pc:spChg chg="add del mod">
          <ac:chgData name="Chloé Julie Charlotte Canavate" userId="a7bbf622-9e81-474e-9095-9598add3c9d2" providerId="ADAL" clId="{3125018F-0847-4360-889A-A6396523E99E}" dt="2022-07-12T10:27:10.981" v="620" actId="478"/>
          <ac:spMkLst>
            <pc:docMk/>
            <pc:sldMk cId="3254695870" sldId="302"/>
            <ac:spMk id="12" creationId="{07849234-65A6-2F18-2899-F490AE316432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13" creationId="{79C66760-8A7A-5D16-838D-30CDD953C05D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19" creationId="{1D1F006E-8870-BF28-070B-CCCE76BA3CF5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20" creationId="{0305FA13-8D5F-1202-F3F8-2D0524CE6DA9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21" creationId="{883237DD-4799-A998-6499-67C577031C08}"/>
          </ac:spMkLst>
        </pc:spChg>
        <pc:spChg chg="add mod">
          <ac:chgData name="Chloé Julie Charlotte Canavate" userId="a7bbf622-9e81-474e-9095-9598add3c9d2" providerId="ADAL" clId="{3125018F-0847-4360-889A-A6396523E99E}" dt="2022-07-12T11:02:50.470" v="1718" actId="1036"/>
          <ac:spMkLst>
            <pc:docMk/>
            <pc:sldMk cId="3254695870" sldId="302"/>
            <ac:spMk id="21" creationId="{F6D8CE43-DB6B-6D80-0279-69FD56C80B93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23" creationId="{88299878-D9BE-C334-3EC6-62D94444214A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24" creationId="{70F8EC87-42AA-83EA-8850-BA7AEC6377E0}"/>
          </ac:spMkLst>
        </pc:spChg>
        <pc:spChg chg="add mod">
          <ac:chgData name="Chloé Julie Charlotte Canavate" userId="a7bbf622-9e81-474e-9095-9598add3c9d2" providerId="ADAL" clId="{3125018F-0847-4360-889A-A6396523E99E}" dt="2022-07-12T11:00:21.348" v="1699" actId="255"/>
          <ac:spMkLst>
            <pc:docMk/>
            <pc:sldMk cId="3254695870" sldId="302"/>
            <ac:spMk id="25" creationId="{CBAB6A8A-CD2D-7875-0C05-6143E17F3369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26" creationId="{BD2918BB-EE1E-9246-F283-483A6B16F886}"/>
          </ac:spMkLst>
        </pc:spChg>
        <pc:spChg chg="add mod">
          <ac:chgData name="Chloé Julie Charlotte Canavate" userId="a7bbf622-9e81-474e-9095-9598add3c9d2" providerId="ADAL" clId="{3125018F-0847-4360-889A-A6396523E99E}" dt="2022-07-12T11:00:58.184" v="1717" actId="1036"/>
          <ac:spMkLst>
            <pc:docMk/>
            <pc:sldMk cId="3254695870" sldId="302"/>
            <ac:spMk id="27" creationId="{10D814E3-6970-2D44-D320-E8F52CFE7C25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27" creationId="{59E4EC72-373D-EE0A-AFE7-108ADD6F16B0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29" creationId="{751362AF-9A53-EA02-77ED-1180B6D3CA2F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30" creationId="{D6F17EF1-DC9D-3A73-9596-F6A0B6D1E891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32" creationId="{01D2EAC2-CED3-69BC-0D8F-ABF85E9F9B29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33" creationId="{F1991DD2-A58C-C4AE-818E-D42ED10D30A9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35" creationId="{DDC02FD0-1627-290C-26A3-DD2261F70ACB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36" creationId="{091BE735-6BFB-65F0-4CD8-83C4247D0567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38" creationId="{5BE93A0E-106C-A1B6-5736-B5CDF7DEA526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39" creationId="{DE610369-6CB3-8E28-06D0-ACC9FF84BDEE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41" creationId="{D62029FD-9F86-CE19-A4CF-EBCF1583DBFE}"/>
          </ac:spMkLst>
        </pc:spChg>
        <pc:spChg chg="add mod">
          <ac:chgData name="Chloé Julie Charlotte Canavate" userId="a7bbf622-9e81-474e-9095-9598add3c9d2" providerId="ADAL" clId="{3125018F-0847-4360-889A-A6396523E99E}" dt="2022-07-12T10:58:09.645" v="1673" actId="1076"/>
          <ac:spMkLst>
            <pc:docMk/>
            <pc:sldMk cId="3254695870" sldId="302"/>
            <ac:spMk id="45" creationId="{6359625A-971C-425C-93E2-5F600600C1A4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46" creationId="{F376F75B-3B4E-72DD-02A9-B1E398F1ED99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48" creationId="{043E0EA6-C53E-A572-1A42-43851A2D629D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49" creationId="{5059012C-FDBD-AD5B-AAF0-A562DFD5684A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51" creationId="{63B1FFA0-BDA8-264B-23AA-AF9EA1869191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53" creationId="{1D78BE12-69EC-055B-F394-AEE11868150F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55" creationId="{6942F6F3-015D-9553-239A-77B3CA95FEE3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56" creationId="{070F6746-8E59-DD25-D6AB-BC8F90277555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57" creationId="{40F1602B-9868-A8FA-EC3F-65FA426DBE67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58" creationId="{63E3DB91-2FF8-B800-179D-5C5E7B9A8508}"/>
          </ac:spMkLst>
        </pc:spChg>
        <pc:spChg chg="del">
          <ac:chgData name="Chloé Julie Charlotte Canavate" userId="a7bbf622-9e81-474e-9095-9598add3c9d2" providerId="ADAL" clId="{3125018F-0847-4360-889A-A6396523E99E}" dt="2022-07-12T10:17:38.939" v="515" actId="478"/>
          <ac:spMkLst>
            <pc:docMk/>
            <pc:sldMk cId="3254695870" sldId="302"/>
            <ac:spMk id="60" creationId="{5566FB1C-3854-4D87-A05D-7246CDB80804}"/>
          </ac:spMkLst>
        </pc:spChg>
        <pc:spChg chg="mod">
          <ac:chgData name="Chloé Julie Charlotte Canavate" userId="a7bbf622-9e81-474e-9095-9598add3c9d2" providerId="ADAL" clId="{3125018F-0847-4360-889A-A6396523E99E}" dt="2022-07-12T10:59:10.899" v="1683" actId="1076"/>
          <ac:spMkLst>
            <pc:docMk/>
            <pc:sldMk cId="3254695870" sldId="302"/>
            <ac:spMk id="62" creationId="{AF166A66-443D-27FE-7418-55AC3DD22818}"/>
          </ac:spMkLst>
        </pc:spChg>
        <pc:spChg chg="mod">
          <ac:chgData name="Chloé Julie Charlotte Canavate" userId="a7bbf622-9e81-474e-9095-9598add3c9d2" providerId="ADAL" clId="{3125018F-0847-4360-889A-A6396523E99E}" dt="2022-07-12T10:59:10.899" v="1683" actId="1076"/>
          <ac:spMkLst>
            <pc:docMk/>
            <pc:sldMk cId="3254695870" sldId="302"/>
            <ac:spMk id="63" creationId="{799CA38A-6809-2BFF-3ED4-F1144B6B329E}"/>
          </ac:spMkLst>
        </pc:spChg>
        <pc:spChg chg="mod">
          <ac:chgData name="Chloé Julie Charlotte Canavate" userId="a7bbf622-9e81-474e-9095-9598add3c9d2" providerId="ADAL" clId="{3125018F-0847-4360-889A-A6396523E99E}" dt="2022-07-12T10:59:10.899" v="1683" actId="1076"/>
          <ac:spMkLst>
            <pc:docMk/>
            <pc:sldMk cId="3254695870" sldId="302"/>
            <ac:spMk id="64" creationId="{0B4C8E34-D22F-F5B5-0747-BC6B81BD6FA1}"/>
          </ac:spMkLst>
        </pc:spChg>
        <pc:spChg chg="mod">
          <ac:chgData name="Chloé Julie Charlotte Canavate" userId="a7bbf622-9e81-474e-9095-9598add3c9d2" providerId="ADAL" clId="{3125018F-0847-4360-889A-A6396523E99E}" dt="2022-07-12T10:59:28.185" v="1689" actId="14100"/>
          <ac:spMkLst>
            <pc:docMk/>
            <pc:sldMk cId="3254695870" sldId="302"/>
            <ac:spMk id="66" creationId="{2E9605EA-6664-D1F6-27BD-125E23460169}"/>
          </ac:spMkLst>
        </pc:spChg>
        <pc:spChg chg="mod">
          <ac:chgData name="Chloé Julie Charlotte Canavate" userId="a7bbf622-9e81-474e-9095-9598add3c9d2" providerId="ADAL" clId="{3125018F-0847-4360-889A-A6396523E99E}" dt="2022-07-12T10:59:15.413" v="1685" actId="1076"/>
          <ac:spMkLst>
            <pc:docMk/>
            <pc:sldMk cId="3254695870" sldId="302"/>
            <ac:spMk id="67" creationId="{F5C9CC99-3552-D69A-5D16-61191CC7AD22}"/>
          </ac:spMkLst>
        </pc:spChg>
        <pc:spChg chg="mod">
          <ac:chgData name="Chloé Julie Charlotte Canavate" userId="a7bbf622-9e81-474e-9095-9598add3c9d2" providerId="ADAL" clId="{3125018F-0847-4360-889A-A6396523E99E}" dt="2022-07-12T10:55:55" v="1650" actId="1035"/>
          <ac:spMkLst>
            <pc:docMk/>
            <pc:sldMk cId="3254695870" sldId="302"/>
            <ac:spMk id="68" creationId="{D93D9DC6-E68D-D9B9-603A-166155204513}"/>
          </ac:spMkLst>
        </pc:spChg>
        <pc:spChg chg="add mod">
          <ac:chgData name="Chloé Julie Charlotte Canavate" userId="a7bbf622-9e81-474e-9095-9598add3c9d2" providerId="ADAL" clId="{3125018F-0847-4360-889A-A6396523E99E}" dt="2022-07-12T10:59:10.899" v="1683" actId="1076"/>
          <ac:spMkLst>
            <pc:docMk/>
            <pc:sldMk cId="3254695870" sldId="302"/>
            <ac:spMk id="69" creationId="{DB0E5CBB-C27E-8A1F-7D61-B9656BBFAD19}"/>
          </ac:spMkLst>
        </pc:spChg>
        <pc:grpChg chg="add mod ord">
          <ac:chgData name="Chloé Julie Charlotte Canavate" userId="a7bbf622-9e81-474e-9095-9598add3c9d2" providerId="ADAL" clId="{3125018F-0847-4360-889A-A6396523E99E}" dt="2022-07-12T10:58:09.645" v="1673" actId="1076"/>
          <ac:grpSpMkLst>
            <pc:docMk/>
            <pc:sldMk cId="3254695870" sldId="302"/>
            <ac:grpSpMk id="10" creationId="{F4570584-9694-D566-195B-F3C469F5E59A}"/>
          </ac:grpSpMkLst>
        </pc:grpChg>
        <pc:grpChg chg="add mod ord">
          <ac:chgData name="Chloé Julie Charlotte Canavate" userId="a7bbf622-9e81-474e-9095-9598add3c9d2" providerId="ADAL" clId="{3125018F-0847-4360-889A-A6396523E99E}" dt="2022-07-12T10:59:10.899" v="1683" actId="1076"/>
          <ac:grpSpMkLst>
            <pc:docMk/>
            <pc:sldMk cId="3254695870" sldId="302"/>
            <ac:grpSpMk id="61" creationId="{33D4D2B7-27E6-82FE-8E54-C0951D2F64AC}"/>
          </ac:grpSpMkLst>
        </pc:grpChg>
        <pc:grpChg chg="add mod ord">
          <ac:chgData name="Chloé Julie Charlotte Canavate" userId="a7bbf622-9e81-474e-9095-9598add3c9d2" providerId="ADAL" clId="{3125018F-0847-4360-889A-A6396523E99E}" dt="2022-07-12T10:59:40.438" v="1690" actId="1076"/>
          <ac:grpSpMkLst>
            <pc:docMk/>
            <pc:sldMk cId="3254695870" sldId="302"/>
            <ac:grpSpMk id="65" creationId="{1D89D65E-2C17-91A7-7880-01EE624AC172}"/>
          </ac:grpSpMkLst>
        </pc:grpChg>
        <pc:graphicFrameChg chg="add del mod modGraphic">
          <ac:chgData name="Chloé Julie Charlotte Canavate" userId="a7bbf622-9e81-474e-9095-9598add3c9d2" providerId="ADAL" clId="{3125018F-0847-4360-889A-A6396523E99E}" dt="2022-07-12T10:18:20.251" v="517" actId="478"/>
          <ac:graphicFrameMkLst>
            <pc:docMk/>
            <pc:sldMk cId="3254695870" sldId="302"/>
            <ac:graphicFrameMk id="3" creationId="{6861E064-FE4D-D7F7-74E1-6F85B8790A88}"/>
          </ac:graphicFrameMkLst>
        </pc:graphicFrameChg>
        <pc:graphicFrameChg chg="add del mod modGraphic">
          <ac:chgData name="Chloé Julie Charlotte Canavate" userId="a7bbf622-9e81-474e-9095-9598add3c9d2" providerId="ADAL" clId="{3125018F-0847-4360-889A-A6396523E99E}" dt="2022-07-12T10:19:53.406" v="523" actId="478"/>
          <ac:graphicFrameMkLst>
            <pc:docMk/>
            <pc:sldMk cId="3254695870" sldId="302"/>
            <ac:graphicFrameMk id="4" creationId="{C550C1B4-20E4-9DAF-181E-CAEC4B562384}"/>
          </ac:graphicFrameMkLst>
        </pc:graphicFrameChg>
        <pc:picChg chg="add mod">
          <ac:chgData name="Chloé Julie Charlotte Canavate" userId="a7bbf622-9e81-474e-9095-9598add3c9d2" providerId="ADAL" clId="{3125018F-0847-4360-889A-A6396523E99E}" dt="2022-07-12T10:59:10.899" v="1683" actId="1076"/>
          <ac:picMkLst>
            <pc:docMk/>
            <pc:sldMk cId="3254695870" sldId="302"/>
            <ac:picMk id="16" creationId="{CC6F97B4-07A1-CAEF-1729-505D58C01434}"/>
          </ac:picMkLst>
        </pc:picChg>
        <pc:picChg chg="add mod">
          <ac:chgData name="Chloé Julie Charlotte Canavate" userId="a7bbf622-9e81-474e-9095-9598add3c9d2" providerId="ADAL" clId="{3125018F-0847-4360-889A-A6396523E99E}" dt="2022-07-12T10:59:40.438" v="1690" actId="1076"/>
          <ac:picMkLst>
            <pc:docMk/>
            <pc:sldMk cId="3254695870" sldId="302"/>
            <ac:picMk id="42" creationId="{866FF850-47B7-8140-BBD9-FF7E55447293}"/>
          </ac:picMkLst>
        </pc:picChg>
        <pc:picChg chg="add mod">
          <ac:chgData name="Chloé Julie Charlotte Canavate" userId="a7bbf622-9e81-474e-9095-9598add3c9d2" providerId="ADAL" clId="{3125018F-0847-4360-889A-A6396523E99E}" dt="2022-07-12T10:58:09.645" v="1673" actId="1076"/>
          <ac:picMkLst>
            <pc:docMk/>
            <pc:sldMk cId="3254695870" sldId="302"/>
            <ac:picMk id="44" creationId="{E3A1D337-77CA-A3B9-D829-EA8FD0479A02}"/>
          </ac:picMkLst>
        </pc:picChg>
        <pc:picChg chg="add del mod">
          <ac:chgData name="Chloé Julie Charlotte Canavate" userId="a7bbf622-9e81-474e-9095-9598add3c9d2" providerId="ADAL" clId="{3125018F-0847-4360-889A-A6396523E99E}" dt="2022-07-12T10:45:07.893" v="1026" actId="478"/>
          <ac:picMkLst>
            <pc:docMk/>
            <pc:sldMk cId="3254695870" sldId="302"/>
            <ac:picMk id="1026" creationId="{6AA8021D-88BB-1CA5-F825-B4B622F2A1C2}"/>
          </ac:picMkLst>
        </pc:picChg>
        <pc:picChg chg="add mod">
          <ac:chgData name="Chloé Julie Charlotte Canavate" userId="a7bbf622-9e81-474e-9095-9598add3c9d2" providerId="ADAL" clId="{3125018F-0847-4360-889A-A6396523E99E}" dt="2022-07-12T10:58:09.645" v="1673" actId="1076"/>
          <ac:picMkLst>
            <pc:docMk/>
            <pc:sldMk cId="3254695870" sldId="302"/>
            <ac:picMk id="1028" creationId="{D4E7174F-CAC0-EFDF-99A7-67129E003276}"/>
          </ac:picMkLst>
        </pc:picChg>
        <pc:picChg chg="add mod">
          <ac:chgData name="Chloé Julie Charlotte Canavate" userId="a7bbf622-9e81-474e-9095-9598add3c9d2" providerId="ADAL" clId="{3125018F-0847-4360-889A-A6396523E99E}" dt="2022-07-12T10:59:10.899" v="1683" actId="1076"/>
          <ac:picMkLst>
            <pc:docMk/>
            <pc:sldMk cId="3254695870" sldId="302"/>
            <ac:picMk id="1030" creationId="{62B1E99A-DD80-DD17-DBFF-DC46C5D7DF22}"/>
          </ac:picMkLst>
        </pc:picChg>
        <pc:cxnChg chg="del mod">
          <ac:chgData name="Chloé Julie Charlotte Canavate" userId="a7bbf622-9e81-474e-9095-9598add3c9d2" providerId="ADAL" clId="{3125018F-0847-4360-889A-A6396523E99E}" dt="2022-07-12T10:17:38.939" v="515" actId="478"/>
          <ac:cxnSpMkLst>
            <pc:docMk/>
            <pc:sldMk cId="3254695870" sldId="302"/>
            <ac:cxnSpMk id="14" creationId="{B9EEABD6-46D6-953A-C67E-EB5608393662}"/>
          </ac:cxnSpMkLst>
        </pc:cxnChg>
        <pc:cxnChg chg="del">
          <ac:chgData name="Chloé Julie Charlotte Canavate" userId="a7bbf622-9e81-474e-9095-9598add3c9d2" providerId="ADAL" clId="{3125018F-0847-4360-889A-A6396523E99E}" dt="2022-07-12T10:17:38.939" v="515" actId="478"/>
          <ac:cxnSpMkLst>
            <pc:docMk/>
            <pc:sldMk cId="3254695870" sldId="302"/>
            <ac:cxnSpMk id="17" creationId="{480FA45B-A266-4C5F-1447-8A1B0EEFD244}"/>
          </ac:cxnSpMkLst>
        </pc:cxnChg>
        <pc:cxnChg chg="del mod">
          <ac:chgData name="Chloé Julie Charlotte Canavate" userId="a7bbf622-9e81-474e-9095-9598add3c9d2" providerId="ADAL" clId="{3125018F-0847-4360-889A-A6396523E99E}" dt="2022-07-12T10:17:38.939" v="515" actId="478"/>
          <ac:cxnSpMkLst>
            <pc:docMk/>
            <pc:sldMk cId="3254695870" sldId="302"/>
            <ac:cxnSpMk id="22" creationId="{572D79CB-5B75-053D-AD51-B0A2AC61B863}"/>
          </ac:cxnSpMkLst>
        </pc:cxnChg>
        <pc:cxnChg chg="del">
          <ac:chgData name="Chloé Julie Charlotte Canavate" userId="a7bbf622-9e81-474e-9095-9598add3c9d2" providerId="ADAL" clId="{3125018F-0847-4360-889A-A6396523E99E}" dt="2022-07-12T10:17:38.939" v="515" actId="478"/>
          <ac:cxnSpMkLst>
            <pc:docMk/>
            <pc:sldMk cId="3254695870" sldId="302"/>
            <ac:cxnSpMk id="25" creationId="{B5950456-176B-E5AF-3091-38868BA34116}"/>
          </ac:cxnSpMkLst>
        </pc:cxnChg>
        <pc:cxnChg chg="del">
          <ac:chgData name="Chloé Julie Charlotte Canavate" userId="a7bbf622-9e81-474e-9095-9598add3c9d2" providerId="ADAL" clId="{3125018F-0847-4360-889A-A6396523E99E}" dt="2022-07-12T10:17:38.939" v="515" actId="478"/>
          <ac:cxnSpMkLst>
            <pc:docMk/>
            <pc:sldMk cId="3254695870" sldId="302"/>
            <ac:cxnSpMk id="28" creationId="{2B1BAE52-181D-D791-DC65-353487DCD759}"/>
          </ac:cxnSpMkLst>
        </pc:cxnChg>
        <pc:cxnChg chg="del">
          <ac:chgData name="Chloé Julie Charlotte Canavate" userId="a7bbf622-9e81-474e-9095-9598add3c9d2" providerId="ADAL" clId="{3125018F-0847-4360-889A-A6396523E99E}" dt="2022-07-12T10:17:38.939" v="515" actId="478"/>
          <ac:cxnSpMkLst>
            <pc:docMk/>
            <pc:sldMk cId="3254695870" sldId="302"/>
            <ac:cxnSpMk id="31" creationId="{DFBE6163-FDA9-A985-EEA0-C79BD7E64C3A}"/>
          </ac:cxnSpMkLst>
        </pc:cxnChg>
        <pc:cxnChg chg="del">
          <ac:chgData name="Chloé Julie Charlotte Canavate" userId="a7bbf622-9e81-474e-9095-9598add3c9d2" providerId="ADAL" clId="{3125018F-0847-4360-889A-A6396523E99E}" dt="2022-07-12T10:17:38.939" v="515" actId="478"/>
          <ac:cxnSpMkLst>
            <pc:docMk/>
            <pc:sldMk cId="3254695870" sldId="302"/>
            <ac:cxnSpMk id="34" creationId="{E7BF8D70-B238-DC0E-D8FB-91CAA5962150}"/>
          </ac:cxnSpMkLst>
        </pc:cxnChg>
        <pc:cxnChg chg="del">
          <ac:chgData name="Chloé Julie Charlotte Canavate" userId="a7bbf622-9e81-474e-9095-9598add3c9d2" providerId="ADAL" clId="{3125018F-0847-4360-889A-A6396523E99E}" dt="2022-07-12T10:17:38.939" v="515" actId="478"/>
          <ac:cxnSpMkLst>
            <pc:docMk/>
            <pc:sldMk cId="3254695870" sldId="302"/>
            <ac:cxnSpMk id="37" creationId="{67A13C71-268A-2D0B-DA6B-C82B38817605}"/>
          </ac:cxnSpMkLst>
        </pc:cxnChg>
        <pc:cxnChg chg="del">
          <ac:chgData name="Chloé Julie Charlotte Canavate" userId="a7bbf622-9e81-474e-9095-9598add3c9d2" providerId="ADAL" clId="{3125018F-0847-4360-889A-A6396523E99E}" dt="2022-07-12T10:17:38.939" v="515" actId="478"/>
          <ac:cxnSpMkLst>
            <pc:docMk/>
            <pc:sldMk cId="3254695870" sldId="302"/>
            <ac:cxnSpMk id="40" creationId="{41F3DBFA-A594-B063-4B39-8C7666B4AE1B}"/>
          </ac:cxnSpMkLst>
        </pc:cxnChg>
        <pc:cxnChg chg="del">
          <ac:chgData name="Chloé Julie Charlotte Canavate" userId="a7bbf622-9e81-474e-9095-9598add3c9d2" providerId="ADAL" clId="{3125018F-0847-4360-889A-A6396523E99E}" dt="2022-07-12T10:17:38.939" v="515" actId="478"/>
          <ac:cxnSpMkLst>
            <pc:docMk/>
            <pc:sldMk cId="3254695870" sldId="302"/>
            <ac:cxnSpMk id="47" creationId="{B1C1A628-D72A-F8AF-F71C-CFF65C78032E}"/>
          </ac:cxnSpMkLst>
        </pc:cxnChg>
        <pc:cxnChg chg="del">
          <ac:chgData name="Chloé Julie Charlotte Canavate" userId="a7bbf622-9e81-474e-9095-9598add3c9d2" providerId="ADAL" clId="{3125018F-0847-4360-889A-A6396523E99E}" dt="2022-07-12T10:17:38.939" v="515" actId="478"/>
          <ac:cxnSpMkLst>
            <pc:docMk/>
            <pc:sldMk cId="3254695870" sldId="302"/>
            <ac:cxnSpMk id="50" creationId="{34954F6B-3A9B-BFD4-28D4-2FB3CD166E38}"/>
          </ac:cxnSpMkLst>
        </pc:cxnChg>
        <pc:cxnChg chg="del">
          <ac:chgData name="Chloé Julie Charlotte Canavate" userId="a7bbf622-9e81-474e-9095-9598add3c9d2" providerId="ADAL" clId="{3125018F-0847-4360-889A-A6396523E99E}" dt="2022-07-12T10:17:38.939" v="515" actId="478"/>
          <ac:cxnSpMkLst>
            <pc:docMk/>
            <pc:sldMk cId="3254695870" sldId="302"/>
            <ac:cxnSpMk id="52" creationId="{0676AEB9-1CA0-8F84-EF6A-B84C75DA5293}"/>
          </ac:cxnSpMkLst>
        </pc:cxnChg>
        <pc:cxnChg chg="del">
          <ac:chgData name="Chloé Julie Charlotte Canavate" userId="a7bbf622-9e81-474e-9095-9598add3c9d2" providerId="ADAL" clId="{3125018F-0847-4360-889A-A6396523E99E}" dt="2022-07-12T10:17:38.939" v="515" actId="478"/>
          <ac:cxnSpMkLst>
            <pc:docMk/>
            <pc:sldMk cId="3254695870" sldId="302"/>
            <ac:cxnSpMk id="54" creationId="{34381DFC-EE92-D5CC-A874-5EFCECF39C25}"/>
          </ac:cxnSpMkLst>
        </pc:cxnChg>
        <pc:cxnChg chg="del">
          <ac:chgData name="Chloé Julie Charlotte Canavate" userId="a7bbf622-9e81-474e-9095-9598add3c9d2" providerId="ADAL" clId="{3125018F-0847-4360-889A-A6396523E99E}" dt="2022-07-12T10:17:38.939" v="515" actId="478"/>
          <ac:cxnSpMkLst>
            <pc:docMk/>
            <pc:sldMk cId="3254695870" sldId="302"/>
            <ac:cxnSpMk id="59" creationId="{C79642CE-6615-C5EB-2122-89428D06061A}"/>
          </ac:cxnSpMkLst>
        </pc:cxnChg>
      </pc:sldChg>
      <pc:sldChg chg="addSp modSp add del mod">
        <pc:chgData name="Chloé Julie Charlotte Canavate" userId="a7bbf622-9e81-474e-9095-9598add3c9d2" providerId="ADAL" clId="{3125018F-0847-4360-889A-A6396523E99E}" dt="2022-07-12T12:26:15.565" v="2520" actId="2696"/>
        <pc:sldMkLst>
          <pc:docMk/>
          <pc:sldMk cId="2426942021" sldId="303"/>
        </pc:sldMkLst>
        <pc:spChg chg="mod">
          <ac:chgData name="Chloé Julie Charlotte Canavate" userId="a7bbf622-9e81-474e-9095-9598add3c9d2" providerId="ADAL" clId="{3125018F-0847-4360-889A-A6396523E99E}" dt="2022-07-12T12:02:34.644" v="2003" actId="1076"/>
          <ac:spMkLst>
            <pc:docMk/>
            <pc:sldMk cId="2426942021" sldId="303"/>
            <ac:spMk id="7" creationId="{BD5BA9BD-1AA5-14C2-287A-2F62AB19A304}"/>
          </ac:spMkLst>
        </pc:spChg>
        <pc:spChg chg="mod">
          <ac:chgData name="Chloé Julie Charlotte Canavate" userId="a7bbf622-9e81-474e-9095-9598add3c9d2" providerId="ADAL" clId="{3125018F-0847-4360-889A-A6396523E99E}" dt="2022-07-12T12:03:08.725" v="2005"/>
          <ac:spMkLst>
            <pc:docMk/>
            <pc:sldMk cId="2426942021" sldId="303"/>
            <ac:spMk id="10" creationId="{A2239E12-25B5-CC41-E0DA-DA08ADB9E41B}"/>
          </ac:spMkLst>
        </pc:spChg>
        <pc:spChg chg="mod">
          <ac:chgData name="Chloé Julie Charlotte Canavate" userId="a7bbf622-9e81-474e-9095-9598add3c9d2" providerId="ADAL" clId="{3125018F-0847-4360-889A-A6396523E99E}" dt="2022-07-12T12:02:47.570" v="2004" actId="1076"/>
          <ac:spMkLst>
            <pc:docMk/>
            <pc:sldMk cId="2426942021" sldId="303"/>
            <ac:spMk id="11" creationId="{D5CDDDA5-4E7A-6402-FA41-8A20266C7BC7}"/>
          </ac:spMkLst>
        </pc:spChg>
        <pc:spChg chg="mod">
          <ac:chgData name="Chloé Julie Charlotte Canavate" userId="a7bbf622-9e81-474e-9095-9598add3c9d2" providerId="ADAL" clId="{3125018F-0847-4360-889A-A6396523E99E}" dt="2022-07-12T12:02:47.570" v="2004" actId="1076"/>
          <ac:spMkLst>
            <pc:docMk/>
            <pc:sldMk cId="2426942021" sldId="303"/>
            <ac:spMk id="13" creationId="{33BB5177-76CD-9BF0-13CE-432E32C1194C}"/>
          </ac:spMkLst>
        </pc:spChg>
        <pc:spChg chg="mod">
          <ac:chgData name="Chloé Julie Charlotte Canavate" userId="a7bbf622-9e81-474e-9095-9598add3c9d2" providerId="ADAL" clId="{3125018F-0847-4360-889A-A6396523E99E}" dt="2022-07-12T12:02:47.570" v="2004" actId="1076"/>
          <ac:spMkLst>
            <pc:docMk/>
            <pc:sldMk cId="2426942021" sldId="303"/>
            <ac:spMk id="22" creationId="{1DBBCA97-9E89-0AC3-33DA-BC3B163D776A}"/>
          </ac:spMkLst>
        </pc:spChg>
        <pc:spChg chg="add mod">
          <ac:chgData name="Chloé Julie Charlotte Canavate" userId="a7bbf622-9e81-474e-9095-9598add3c9d2" providerId="ADAL" clId="{3125018F-0847-4360-889A-A6396523E99E}" dt="2022-07-12T12:03:23.833" v="2013" actId="1076"/>
          <ac:spMkLst>
            <pc:docMk/>
            <pc:sldMk cId="2426942021" sldId="303"/>
            <ac:spMk id="23" creationId="{8D973ABA-58BC-0261-146D-599365D7D7CA}"/>
          </ac:spMkLst>
        </pc:spChg>
        <pc:spChg chg="add mod">
          <ac:chgData name="Chloé Julie Charlotte Canavate" userId="a7bbf622-9e81-474e-9095-9598add3c9d2" providerId="ADAL" clId="{3125018F-0847-4360-889A-A6396523E99E}" dt="2022-07-12T12:04:42.568" v="2023" actId="1076"/>
          <ac:spMkLst>
            <pc:docMk/>
            <pc:sldMk cId="2426942021" sldId="303"/>
            <ac:spMk id="24" creationId="{2FDB1D0C-2706-1126-39FA-20184CFB5AD8}"/>
          </ac:spMkLst>
        </pc:spChg>
        <pc:picChg chg="mod">
          <ac:chgData name="Chloé Julie Charlotte Canavate" userId="a7bbf622-9e81-474e-9095-9598add3c9d2" providerId="ADAL" clId="{3125018F-0847-4360-889A-A6396523E99E}" dt="2022-07-12T12:02:47.570" v="2004" actId="1076"/>
          <ac:picMkLst>
            <pc:docMk/>
            <pc:sldMk cId="2426942021" sldId="303"/>
            <ac:picMk id="8" creationId="{83637314-455A-9172-6EA2-651B4C06D636}"/>
          </ac:picMkLst>
        </pc:picChg>
        <pc:picChg chg="mod">
          <ac:chgData name="Chloé Julie Charlotte Canavate" userId="a7bbf622-9e81-474e-9095-9598add3c9d2" providerId="ADAL" clId="{3125018F-0847-4360-889A-A6396523E99E}" dt="2022-07-12T12:02:47.570" v="2004" actId="1076"/>
          <ac:picMkLst>
            <pc:docMk/>
            <pc:sldMk cId="2426942021" sldId="303"/>
            <ac:picMk id="9" creationId="{7146934A-608B-5B21-8186-32BDD866477B}"/>
          </ac:picMkLst>
        </pc:picChg>
        <pc:picChg chg="mod">
          <ac:chgData name="Chloé Julie Charlotte Canavate" userId="a7bbf622-9e81-474e-9095-9598add3c9d2" providerId="ADAL" clId="{3125018F-0847-4360-889A-A6396523E99E}" dt="2022-07-12T12:02:47.570" v="2004" actId="1076"/>
          <ac:picMkLst>
            <pc:docMk/>
            <pc:sldMk cId="2426942021" sldId="303"/>
            <ac:picMk id="19" creationId="{D71CACB9-88FE-9518-CE9D-C2431E6507C3}"/>
          </ac:picMkLst>
        </pc:picChg>
        <pc:picChg chg="mod">
          <ac:chgData name="Chloé Julie Charlotte Canavate" userId="a7bbf622-9e81-474e-9095-9598add3c9d2" providerId="ADAL" clId="{3125018F-0847-4360-889A-A6396523E99E}" dt="2022-07-12T12:02:47.570" v="2004" actId="1076"/>
          <ac:picMkLst>
            <pc:docMk/>
            <pc:sldMk cId="2426942021" sldId="303"/>
            <ac:picMk id="1026" creationId="{699774F4-B00A-5604-19DB-E29B5748F816}"/>
          </ac:picMkLst>
        </pc:picChg>
        <pc:cxnChg chg="mod">
          <ac:chgData name="Chloé Julie Charlotte Canavate" userId="a7bbf622-9e81-474e-9095-9598add3c9d2" providerId="ADAL" clId="{3125018F-0847-4360-889A-A6396523E99E}" dt="2022-07-12T12:02:47.570" v="2004" actId="1076"/>
          <ac:cxnSpMkLst>
            <pc:docMk/>
            <pc:sldMk cId="2426942021" sldId="303"/>
            <ac:cxnSpMk id="12" creationId="{837EE84E-3BB9-EB78-C0ED-F99D4B0CC303}"/>
          </ac:cxnSpMkLst>
        </pc:cxnChg>
        <pc:cxnChg chg="mod">
          <ac:chgData name="Chloé Julie Charlotte Canavate" userId="a7bbf622-9e81-474e-9095-9598add3c9d2" providerId="ADAL" clId="{3125018F-0847-4360-889A-A6396523E99E}" dt="2022-07-12T12:02:47.570" v="2004" actId="1076"/>
          <ac:cxnSpMkLst>
            <pc:docMk/>
            <pc:sldMk cId="2426942021" sldId="303"/>
            <ac:cxnSpMk id="14" creationId="{2CFB1072-B24C-BA2B-53F4-F9C9599C474E}"/>
          </ac:cxnSpMkLst>
        </pc:cxnChg>
        <pc:cxnChg chg="mod">
          <ac:chgData name="Chloé Julie Charlotte Canavate" userId="a7bbf622-9e81-474e-9095-9598add3c9d2" providerId="ADAL" clId="{3125018F-0847-4360-889A-A6396523E99E}" dt="2022-07-12T12:02:47.570" v="2004" actId="1076"/>
          <ac:cxnSpMkLst>
            <pc:docMk/>
            <pc:sldMk cId="2426942021" sldId="303"/>
            <ac:cxnSpMk id="15" creationId="{CCF1D31B-0205-EDFB-CF11-EBE3684B45B5}"/>
          </ac:cxnSpMkLst>
        </pc:cxnChg>
        <pc:cxnChg chg="mod">
          <ac:chgData name="Chloé Julie Charlotte Canavate" userId="a7bbf622-9e81-474e-9095-9598add3c9d2" providerId="ADAL" clId="{3125018F-0847-4360-889A-A6396523E99E}" dt="2022-07-12T12:02:47.570" v="2004" actId="1076"/>
          <ac:cxnSpMkLst>
            <pc:docMk/>
            <pc:sldMk cId="2426942021" sldId="303"/>
            <ac:cxnSpMk id="16" creationId="{925CA058-A50B-B16C-2842-326440DF2529}"/>
          </ac:cxnSpMkLst>
        </pc:cxnChg>
        <pc:cxnChg chg="mod">
          <ac:chgData name="Chloé Julie Charlotte Canavate" userId="a7bbf622-9e81-474e-9095-9598add3c9d2" providerId="ADAL" clId="{3125018F-0847-4360-889A-A6396523E99E}" dt="2022-07-12T12:02:47.570" v="2004" actId="1076"/>
          <ac:cxnSpMkLst>
            <pc:docMk/>
            <pc:sldMk cId="2426942021" sldId="303"/>
            <ac:cxnSpMk id="20" creationId="{20FD3EAB-F68B-48C2-9A25-4F724A26BFDF}"/>
          </ac:cxnSpMkLst>
        </pc:cxnChg>
      </pc:sldChg>
      <pc:sldChg chg="addSp delSp modSp add mod modAnim">
        <pc:chgData name="Chloé Julie Charlotte Canavate" userId="a7bbf622-9e81-474e-9095-9598add3c9d2" providerId="ADAL" clId="{3125018F-0847-4360-889A-A6396523E99E}" dt="2022-07-14T05:26:51.093" v="3948"/>
        <pc:sldMkLst>
          <pc:docMk/>
          <pc:sldMk cId="3246406989" sldId="304"/>
        </pc:sldMkLst>
        <pc:spChg chg="mod">
          <ac:chgData name="Chloé Julie Charlotte Canavate" userId="a7bbf622-9e81-474e-9095-9598add3c9d2" providerId="ADAL" clId="{3125018F-0847-4360-889A-A6396523E99E}" dt="2022-07-12T14:06:02.217" v="3903" actId="20577"/>
          <ac:spMkLst>
            <pc:docMk/>
            <pc:sldMk cId="3246406989" sldId="304"/>
            <ac:spMk id="2" creationId="{C6785AE7-8B00-486C-9A8C-F571C93177E4}"/>
          </ac:spMkLst>
        </pc:spChg>
        <pc:spChg chg="del">
          <ac:chgData name="Chloé Julie Charlotte Canavate" userId="a7bbf622-9e81-474e-9095-9598add3c9d2" providerId="ADAL" clId="{3125018F-0847-4360-889A-A6396523E99E}" dt="2022-07-12T12:05:46.953" v="2025" actId="478"/>
          <ac:spMkLst>
            <pc:docMk/>
            <pc:sldMk cId="3246406989" sldId="304"/>
            <ac:spMk id="6" creationId="{9AF89EE5-5EE0-794D-3F59-78AB800D9819}"/>
          </ac:spMkLst>
        </pc:spChg>
        <pc:spChg chg="del">
          <ac:chgData name="Chloé Julie Charlotte Canavate" userId="a7bbf622-9e81-474e-9095-9598add3c9d2" providerId="ADAL" clId="{3125018F-0847-4360-889A-A6396523E99E}" dt="2022-07-12T12:05:46.953" v="2025" actId="478"/>
          <ac:spMkLst>
            <pc:docMk/>
            <pc:sldMk cId="3246406989" sldId="304"/>
            <ac:spMk id="7" creationId="{BD5BA9BD-1AA5-14C2-287A-2F62AB19A304}"/>
          </ac:spMkLst>
        </pc:spChg>
        <pc:spChg chg="del">
          <ac:chgData name="Chloé Julie Charlotte Canavate" userId="a7bbf622-9e81-474e-9095-9598add3c9d2" providerId="ADAL" clId="{3125018F-0847-4360-889A-A6396523E99E}" dt="2022-07-12T12:05:46.953" v="2025" actId="478"/>
          <ac:spMkLst>
            <pc:docMk/>
            <pc:sldMk cId="3246406989" sldId="304"/>
            <ac:spMk id="10" creationId="{A2239E12-25B5-CC41-E0DA-DA08ADB9E41B}"/>
          </ac:spMkLst>
        </pc:spChg>
        <pc:spChg chg="del">
          <ac:chgData name="Chloé Julie Charlotte Canavate" userId="a7bbf622-9e81-474e-9095-9598add3c9d2" providerId="ADAL" clId="{3125018F-0847-4360-889A-A6396523E99E}" dt="2022-07-12T12:05:46.953" v="2025" actId="478"/>
          <ac:spMkLst>
            <pc:docMk/>
            <pc:sldMk cId="3246406989" sldId="304"/>
            <ac:spMk id="11" creationId="{D5CDDDA5-4E7A-6402-FA41-8A20266C7BC7}"/>
          </ac:spMkLst>
        </pc:spChg>
        <pc:spChg chg="del">
          <ac:chgData name="Chloé Julie Charlotte Canavate" userId="a7bbf622-9e81-474e-9095-9598add3c9d2" providerId="ADAL" clId="{3125018F-0847-4360-889A-A6396523E99E}" dt="2022-07-12T12:05:46.953" v="2025" actId="478"/>
          <ac:spMkLst>
            <pc:docMk/>
            <pc:sldMk cId="3246406989" sldId="304"/>
            <ac:spMk id="13" creationId="{33BB5177-76CD-9BF0-13CE-432E32C1194C}"/>
          </ac:spMkLst>
        </pc:spChg>
        <pc:spChg chg="add mod">
          <ac:chgData name="Chloé Julie Charlotte Canavate" userId="a7bbf622-9e81-474e-9095-9598add3c9d2" providerId="ADAL" clId="{3125018F-0847-4360-889A-A6396523E99E}" dt="2022-07-12T12:24:25.520" v="2510" actId="1076"/>
          <ac:spMkLst>
            <pc:docMk/>
            <pc:sldMk cId="3246406989" sldId="304"/>
            <ac:spMk id="17" creationId="{ABDF4A95-6025-DE10-A8A7-064D9EEEC7B1}"/>
          </ac:spMkLst>
        </pc:spChg>
        <pc:spChg chg="del">
          <ac:chgData name="Chloé Julie Charlotte Canavate" userId="a7bbf622-9e81-474e-9095-9598add3c9d2" providerId="ADAL" clId="{3125018F-0847-4360-889A-A6396523E99E}" dt="2022-07-12T12:05:46.953" v="2025" actId="478"/>
          <ac:spMkLst>
            <pc:docMk/>
            <pc:sldMk cId="3246406989" sldId="304"/>
            <ac:spMk id="22" creationId="{1DBBCA97-9E89-0AC3-33DA-BC3B163D776A}"/>
          </ac:spMkLst>
        </pc:spChg>
        <pc:spChg chg="mod">
          <ac:chgData name="Chloé Julie Charlotte Canavate" userId="a7bbf622-9e81-474e-9095-9598add3c9d2" providerId="ADAL" clId="{3125018F-0847-4360-889A-A6396523E99E}" dt="2022-07-12T12:24:25.520" v="2510" actId="1076"/>
          <ac:spMkLst>
            <pc:docMk/>
            <pc:sldMk cId="3246406989" sldId="304"/>
            <ac:spMk id="24" creationId="{F17D4059-578B-85F6-7AA3-3A797D2EA966}"/>
          </ac:spMkLst>
        </pc:spChg>
        <pc:spChg chg="mod">
          <ac:chgData name="Chloé Julie Charlotte Canavate" userId="a7bbf622-9e81-474e-9095-9598add3c9d2" providerId="ADAL" clId="{3125018F-0847-4360-889A-A6396523E99E}" dt="2022-07-12T12:24:25.520" v="2510" actId="1076"/>
          <ac:spMkLst>
            <pc:docMk/>
            <pc:sldMk cId="3246406989" sldId="304"/>
            <ac:spMk id="25" creationId="{7B82DB4C-586F-B58B-9D1B-4E7E48A6EBB5}"/>
          </ac:spMkLst>
        </pc:spChg>
        <pc:spChg chg="mod">
          <ac:chgData name="Chloé Julie Charlotte Canavate" userId="a7bbf622-9e81-474e-9095-9598add3c9d2" providerId="ADAL" clId="{3125018F-0847-4360-889A-A6396523E99E}" dt="2022-07-12T12:24:25.520" v="2510" actId="1076"/>
          <ac:spMkLst>
            <pc:docMk/>
            <pc:sldMk cId="3246406989" sldId="304"/>
            <ac:spMk id="26" creationId="{3B7176F7-3026-CF95-3224-2B5F291EDDBD}"/>
          </ac:spMkLst>
        </pc:spChg>
        <pc:spChg chg="mod">
          <ac:chgData name="Chloé Julie Charlotte Canavate" userId="a7bbf622-9e81-474e-9095-9598add3c9d2" providerId="ADAL" clId="{3125018F-0847-4360-889A-A6396523E99E}" dt="2022-07-12T12:24:25.520" v="2510" actId="1076"/>
          <ac:spMkLst>
            <pc:docMk/>
            <pc:sldMk cId="3246406989" sldId="304"/>
            <ac:spMk id="28" creationId="{22EC38D6-F123-E45E-09A4-963934976E08}"/>
          </ac:spMkLst>
        </pc:spChg>
        <pc:spChg chg="mod">
          <ac:chgData name="Chloé Julie Charlotte Canavate" userId="a7bbf622-9e81-474e-9095-9598add3c9d2" providerId="ADAL" clId="{3125018F-0847-4360-889A-A6396523E99E}" dt="2022-07-12T12:24:25.520" v="2510" actId="1076"/>
          <ac:spMkLst>
            <pc:docMk/>
            <pc:sldMk cId="3246406989" sldId="304"/>
            <ac:spMk id="29" creationId="{D138AB5D-F385-0468-7E7D-C2AD59E2BF6C}"/>
          </ac:spMkLst>
        </pc:spChg>
        <pc:spChg chg="mod">
          <ac:chgData name="Chloé Julie Charlotte Canavate" userId="a7bbf622-9e81-474e-9095-9598add3c9d2" providerId="ADAL" clId="{3125018F-0847-4360-889A-A6396523E99E}" dt="2022-07-12T12:24:25.520" v="2510" actId="1076"/>
          <ac:spMkLst>
            <pc:docMk/>
            <pc:sldMk cId="3246406989" sldId="304"/>
            <ac:spMk id="30" creationId="{E05CCCFC-B2D0-EF41-584B-A8CAB760C06F}"/>
          </ac:spMkLst>
        </pc:spChg>
        <pc:spChg chg="mod">
          <ac:chgData name="Chloé Julie Charlotte Canavate" userId="a7bbf622-9e81-474e-9095-9598add3c9d2" providerId="ADAL" clId="{3125018F-0847-4360-889A-A6396523E99E}" dt="2022-07-12T12:24:25.520" v="2510" actId="1076"/>
          <ac:spMkLst>
            <pc:docMk/>
            <pc:sldMk cId="3246406989" sldId="304"/>
            <ac:spMk id="32" creationId="{09871A0D-0C43-EDA4-0D28-E8E1027FE6F8}"/>
          </ac:spMkLst>
        </pc:spChg>
        <pc:spChg chg="mod">
          <ac:chgData name="Chloé Julie Charlotte Canavate" userId="a7bbf622-9e81-474e-9095-9598add3c9d2" providerId="ADAL" clId="{3125018F-0847-4360-889A-A6396523E99E}" dt="2022-07-12T12:24:25.520" v="2510" actId="1076"/>
          <ac:spMkLst>
            <pc:docMk/>
            <pc:sldMk cId="3246406989" sldId="304"/>
            <ac:spMk id="33" creationId="{F3E01682-EF80-AA67-4A8F-99893DA3B43A}"/>
          </ac:spMkLst>
        </pc:spChg>
        <pc:spChg chg="mod">
          <ac:chgData name="Chloé Julie Charlotte Canavate" userId="a7bbf622-9e81-474e-9095-9598add3c9d2" providerId="ADAL" clId="{3125018F-0847-4360-889A-A6396523E99E}" dt="2022-07-12T12:24:25.520" v="2510" actId="1076"/>
          <ac:spMkLst>
            <pc:docMk/>
            <pc:sldMk cId="3246406989" sldId="304"/>
            <ac:spMk id="34" creationId="{429DE046-4F85-5E1B-55EA-69B78689CA4F}"/>
          </ac:spMkLst>
        </pc:spChg>
        <pc:spChg chg="add mod">
          <ac:chgData name="Chloé Julie Charlotte Canavate" userId="a7bbf622-9e81-474e-9095-9598add3c9d2" providerId="ADAL" clId="{3125018F-0847-4360-889A-A6396523E99E}" dt="2022-07-12T12:24:25.520" v="2510" actId="1076"/>
          <ac:spMkLst>
            <pc:docMk/>
            <pc:sldMk cId="3246406989" sldId="304"/>
            <ac:spMk id="38" creationId="{45011607-5921-4D0A-BD8A-98C63D21995E}"/>
          </ac:spMkLst>
        </pc:spChg>
        <pc:spChg chg="add mod">
          <ac:chgData name="Chloé Julie Charlotte Canavate" userId="a7bbf622-9e81-474e-9095-9598add3c9d2" providerId="ADAL" clId="{3125018F-0847-4360-889A-A6396523E99E}" dt="2022-07-12T12:24:25.520" v="2510" actId="1076"/>
          <ac:spMkLst>
            <pc:docMk/>
            <pc:sldMk cId="3246406989" sldId="304"/>
            <ac:spMk id="39" creationId="{19214B08-F411-0EA5-A00A-23F9F9466503}"/>
          </ac:spMkLst>
        </pc:spChg>
        <pc:spChg chg="add mod">
          <ac:chgData name="Chloé Julie Charlotte Canavate" userId="a7bbf622-9e81-474e-9095-9598add3c9d2" providerId="ADAL" clId="{3125018F-0847-4360-889A-A6396523E99E}" dt="2022-07-12T13:11:26.324" v="3005" actId="1036"/>
          <ac:spMkLst>
            <pc:docMk/>
            <pc:sldMk cId="3246406989" sldId="304"/>
            <ac:spMk id="40" creationId="{058690E3-26B5-FB97-4DEA-A1B11A2ACFD6}"/>
          </ac:spMkLst>
        </pc:spChg>
        <pc:spChg chg="add del mod">
          <ac:chgData name="Chloé Julie Charlotte Canavate" userId="a7bbf622-9e81-474e-9095-9598add3c9d2" providerId="ADAL" clId="{3125018F-0847-4360-889A-A6396523E99E}" dt="2022-07-12T12:06:41.165" v="2033" actId="478"/>
          <ac:spMkLst>
            <pc:docMk/>
            <pc:sldMk cId="3246406989" sldId="304"/>
            <ac:spMk id="41" creationId="{A702CC88-8539-82AC-A97E-33900D5399D5}"/>
          </ac:spMkLst>
        </pc:spChg>
        <pc:spChg chg="add del mod">
          <ac:chgData name="Chloé Julie Charlotte Canavate" userId="a7bbf622-9e81-474e-9095-9598add3c9d2" providerId="ADAL" clId="{3125018F-0847-4360-889A-A6396523E99E}" dt="2022-07-12T12:07:01.542" v="2038" actId="478"/>
          <ac:spMkLst>
            <pc:docMk/>
            <pc:sldMk cId="3246406989" sldId="304"/>
            <ac:spMk id="43" creationId="{4BB9A640-88CE-29F5-B3A2-104AE0293240}"/>
          </ac:spMkLst>
        </pc:spChg>
        <pc:spChg chg="add del mod">
          <ac:chgData name="Chloé Julie Charlotte Canavate" userId="a7bbf622-9e81-474e-9095-9598add3c9d2" providerId="ADAL" clId="{3125018F-0847-4360-889A-A6396523E99E}" dt="2022-07-12T12:07:19.660" v="2043" actId="478"/>
          <ac:spMkLst>
            <pc:docMk/>
            <pc:sldMk cId="3246406989" sldId="304"/>
            <ac:spMk id="45" creationId="{AF0F7934-0E3E-96B0-134F-9A4C90D99760}"/>
          </ac:spMkLst>
        </pc:spChg>
        <pc:spChg chg="add mod">
          <ac:chgData name="Chloé Julie Charlotte Canavate" userId="a7bbf622-9e81-474e-9095-9598add3c9d2" providerId="ADAL" clId="{3125018F-0847-4360-889A-A6396523E99E}" dt="2022-07-12T12:08:33.951" v="2064" actId="164"/>
          <ac:spMkLst>
            <pc:docMk/>
            <pc:sldMk cId="3246406989" sldId="304"/>
            <ac:spMk id="49" creationId="{07CA44A9-CE2C-4584-F6EC-63324C5855B6}"/>
          </ac:spMkLst>
        </pc:spChg>
        <pc:spChg chg="add mod">
          <ac:chgData name="Chloé Julie Charlotte Canavate" userId="a7bbf622-9e81-474e-9095-9598add3c9d2" providerId="ADAL" clId="{3125018F-0847-4360-889A-A6396523E99E}" dt="2022-07-12T12:08:33.951" v="2064" actId="164"/>
          <ac:spMkLst>
            <pc:docMk/>
            <pc:sldMk cId="3246406989" sldId="304"/>
            <ac:spMk id="50" creationId="{9B1CA85E-A310-3591-EB80-5C5B7EECAEB3}"/>
          </ac:spMkLst>
        </pc:spChg>
        <pc:spChg chg="add mod">
          <ac:chgData name="Chloé Julie Charlotte Canavate" userId="a7bbf622-9e81-474e-9095-9598add3c9d2" providerId="ADAL" clId="{3125018F-0847-4360-889A-A6396523E99E}" dt="2022-07-12T14:07:42.346" v="3906" actId="20577"/>
          <ac:spMkLst>
            <pc:docMk/>
            <pc:sldMk cId="3246406989" sldId="304"/>
            <ac:spMk id="54" creationId="{9393E20B-32D3-E4FF-69AA-21A13342D28F}"/>
          </ac:spMkLst>
        </pc:spChg>
        <pc:spChg chg="add mod">
          <ac:chgData name="Chloé Julie Charlotte Canavate" userId="a7bbf622-9e81-474e-9095-9598add3c9d2" providerId="ADAL" clId="{3125018F-0847-4360-889A-A6396523E99E}" dt="2022-07-12T12:24:25.520" v="2510" actId="1076"/>
          <ac:spMkLst>
            <pc:docMk/>
            <pc:sldMk cId="3246406989" sldId="304"/>
            <ac:spMk id="56" creationId="{A9E03ACB-4620-E826-9C36-5CB261561645}"/>
          </ac:spMkLst>
        </pc:spChg>
        <pc:spChg chg="add del">
          <ac:chgData name="Chloé Julie Charlotte Canavate" userId="a7bbf622-9e81-474e-9095-9598add3c9d2" providerId="ADAL" clId="{3125018F-0847-4360-889A-A6396523E99E}" dt="2022-07-12T12:21:33.962" v="2414" actId="22"/>
          <ac:spMkLst>
            <pc:docMk/>
            <pc:sldMk cId="3246406989" sldId="304"/>
            <ac:spMk id="58" creationId="{510DA281-8F46-11EF-4296-B241D318031B}"/>
          </ac:spMkLst>
        </pc:spChg>
        <pc:spChg chg="add mod ord">
          <ac:chgData name="Chloé Julie Charlotte Canavate" userId="a7bbf622-9e81-474e-9095-9598add3c9d2" providerId="ADAL" clId="{3125018F-0847-4360-889A-A6396523E99E}" dt="2022-07-12T12:26:51.709" v="2525" actId="1076"/>
          <ac:spMkLst>
            <pc:docMk/>
            <pc:sldMk cId="3246406989" sldId="304"/>
            <ac:spMk id="60" creationId="{508FAD15-879D-1597-1344-37CBEA69CB32}"/>
          </ac:spMkLst>
        </pc:spChg>
        <pc:spChg chg="add mod">
          <ac:chgData name="Chloé Julie Charlotte Canavate" userId="a7bbf622-9e81-474e-9095-9598add3c9d2" providerId="ADAL" clId="{3125018F-0847-4360-889A-A6396523E99E}" dt="2022-07-12T12:27:21.050" v="2530" actId="208"/>
          <ac:spMkLst>
            <pc:docMk/>
            <pc:sldMk cId="3246406989" sldId="304"/>
            <ac:spMk id="61" creationId="{65443FDA-8612-9C53-D374-2878128478B8}"/>
          </ac:spMkLst>
        </pc:spChg>
        <pc:spChg chg="add mod">
          <ac:chgData name="Chloé Julie Charlotte Canavate" userId="a7bbf622-9e81-474e-9095-9598add3c9d2" providerId="ADAL" clId="{3125018F-0847-4360-889A-A6396523E99E}" dt="2022-07-12T12:27:25.536" v="2531" actId="1036"/>
          <ac:spMkLst>
            <pc:docMk/>
            <pc:sldMk cId="3246406989" sldId="304"/>
            <ac:spMk id="62" creationId="{78306661-D63F-C519-3432-040FD9BFA111}"/>
          </ac:spMkLst>
        </pc:spChg>
        <pc:grpChg chg="add del mod">
          <ac:chgData name="Chloé Julie Charlotte Canavate" userId="a7bbf622-9e81-474e-9095-9598add3c9d2" providerId="ADAL" clId="{3125018F-0847-4360-889A-A6396523E99E}" dt="2022-07-12T12:08:43.276" v="2067" actId="478"/>
          <ac:grpSpMkLst>
            <pc:docMk/>
            <pc:sldMk cId="3246406989" sldId="304"/>
            <ac:grpSpMk id="5" creationId="{95B13378-05A5-71ED-2940-425B69BB6AF4}"/>
          </ac:grpSpMkLst>
        </pc:grpChg>
        <pc:grpChg chg="add mod">
          <ac:chgData name="Chloé Julie Charlotte Canavate" userId="a7bbf622-9e81-474e-9095-9598add3c9d2" providerId="ADAL" clId="{3125018F-0847-4360-889A-A6396523E99E}" dt="2022-07-12T12:24:25.520" v="2510" actId="1076"/>
          <ac:grpSpMkLst>
            <pc:docMk/>
            <pc:sldMk cId="3246406989" sldId="304"/>
            <ac:grpSpMk id="23" creationId="{64BD9093-083E-67FE-2A84-C2DAF5354180}"/>
          </ac:grpSpMkLst>
        </pc:grpChg>
        <pc:grpChg chg="add mod">
          <ac:chgData name="Chloé Julie Charlotte Canavate" userId="a7bbf622-9e81-474e-9095-9598add3c9d2" providerId="ADAL" clId="{3125018F-0847-4360-889A-A6396523E99E}" dt="2022-07-12T12:24:25.520" v="2510" actId="1076"/>
          <ac:grpSpMkLst>
            <pc:docMk/>
            <pc:sldMk cId="3246406989" sldId="304"/>
            <ac:grpSpMk id="27" creationId="{10AF5D87-EAB9-E454-082E-C2A313504071}"/>
          </ac:grpSpMkLst>
        </pc:grpChg>
        <pc:grpChg chg="add mod">
          <ac:chgData name="Chloé Julie Charlotte Canavate" userId="a7bbf622-9e81-474e-9095-9598add3c9d2" providerId="ADAL" clId="{3125018F-0847-4360-889A-A6396523E99E}" dt="2022-07-12T12:24:25.520" v="2510" actId="1076"/>
          <ac:grpSpMkLst>
            <pc:docMk/>
            <pc:sldMk cId="3246406989" sldId="304"/>
            <ac:grpSpMk id="31" creationId="{420BDE89-A19D-AF04-E9D6-4B08D9611382}"/>
          </ac:grpSpMkLst>
        </pc:grpChg>
        <pc:picChg chg="del">
          <ac:chgData name="Chloé Julie Charlotte Canavate" userId="a7bbf622-9e81-474e-9095-9598add3c9d2" providerId="ADAL" clId="{3125018F-0847-4360-889A-A6396523E99E}" dt="2022-07-12T12:05:46.953" v="2025" actId="478"/>
          <ac:picMkLst>
            <pc:docMk/>
            <pc:sldMk cId="3246406989" sldId="304"/>
            <ac:picMk id="8" creationId="{83637314-455A-9172-6EA2-651B4C06D636}"/>
          </ac:picMkLst>
        </pc:picChg>
        <pc:picChg chg="del">
          <ac:chgData name="Chloé Julie Charlotte Canavate" userId="a7bbf622-9e81-474e-9095-9598add3c9d2" providerId="ADAL" clId="{3125018F-0847-4360-889A-A6396523E99E}" dt="2022-07-12T12:05:46.953" v="2025" actId="478"/>
          <ac:picMkLst>
            <pc:docMk/>
            <pc:sldMk cId="3246406989" sldId="304"/>
            <ac:picMk id="9" creationId="{7146934A-608B-5B21-8186-32BDD866477B}"/>
          </ac:picMkLst>
        </pc:picChg>
        <pc:picChg chg="add mod">
          <ac:chgData name="Chloé Julie Charlotte Canavate" userId="a7bbf622-9e81-474e-9095-9598add3c9d2" providerId="ADAL" clId="{3125018F-0847-4360-889A-A6396523E99E}" dt="2022-07-12T12:24:25.520" v="2510" actId="1076"/>
          <ac:picMkLst>
            <pc:docMk/>
            <pc:sldMk cId="3246406989" sldId="304"/>
            <ac:picMk id="18" creationId="{019F9CA7-9B90-1C78-5021-50E91DEC4D2E}"/>
          </ac:picMkLst>
        </pc:picChg>
        <pc:picChg chg="del">
          <ac:chgData name="Chloé Julie Charlotte Canavate" userId="a7bbf622-9e81-474e-9095-9598add3c9d2" providerId="ADAL" clId="{3125018F-0847-4360-889A-A6396523E99E}" dt="2022-07-12T12:05:46.953" v="2025" actId="478"/>
          <ac:picMkLst>
            <pc:docMk/>
            <pc:sldMk cId="3246406989" sldId="304"/>
            <ac:picMk id="19" creationId="{D71CACB9-88FE-9518-CE9D-C2431E6507C3}"/>
          </ac:picMkLst>
        </pc:picChg>
        <pc:picChg chg="add del mod">
          <ac:chgData name="Chloé Julie Charlotte Canavate" userId="a7bbf622-9e81-474e-9095-9598add3c9d2" providerId="ADAL" clId="{3125018F-0847-4360-889A-A6396523E99E}" dt="2022-07-12T12:07:02.603" v="2039" actId="478"/>
          <ac:picMkLst>
            <pc:docMk/>
            <pc:sldMk cId="3246406989" sldId="304"/>
            <ac:picMk id="35" creationId="{94015569-A3A4-FC66-4789-D1FD591E24DA}"/>
          </ac:picMkLst>
        </pc:picChg>
        <pc:picChg chg="add del mod">
          <ac:chgData name="Chloé Julie Charlotte Canavate" userId="a7bbf622-9e81-474e-9095-9598add3c9d2" providerId="ADAL" clId="{3125018F-0847-4360-889A-A6396523E99E}" dt="2022-07-12T12:07:15.962" v="2042" actId="478"/>
          <ac:picMkLst>
            <pc:docMk/>
            <pc:sldMk cId="3246406989" sldId="304"/>
            <ac:picMk id="36" creationId="{2F6E0EE8-0A25-A60F-FA39-B3350174CADC}"/>
          </ac:picMkLst>
        </pc:picChg>
        <pc:picChg chg="add del mod">
          <ac:chgData name="Chloé Julie Charlotte Canavate" userId="a7bbf622-9e81-474e-9095-9598add3c9d2" providerId="ADAL" clId="{3125018F-0847-4360-889A-A6396523E99E}" dt="2022-07-12T12:06:19.010" v="2029" actId="478"/>
          <ac:picMkLst>
            <pc:docMk/>
            <pc:sldMk cId="3246406989" sldId="304"/>
            <ac:picMk id="37" creationId="{5453A287-2F62-B869-5C98-586620051B7C}"/>
          </ac:picMkLst>
        </pc:picChg>
        <pc:picChg chg="add del mod">
          <ac:chgData name="Chloé Julie Charlotte Canavate" userId="a7bbf622-9e81-474e-9095-9598add3c9d2" providerId="ADAL" clId="{3125018F-0847-4360-889A-A6396523E99E}" dt="2022-07-12T12:06:09.789" v="2027" actId="478"/>
          <ac:picMkLst>
            <pc:docMk/>
            <pc:sldMk cId="3246406989" sldId="304"/>
            <ac:picMk id="42" creationId="{E6CB9FA1-56A0-30AA-02F1-B1CD3BC0A5EC}"/>
          </ac:picMkLst>
        </pc:picChg>
        <pc:picChg chg="add del mod">
          <ac:chgData name="Chloé Julie Charlotte Canavate" userId="a7bbf622-9e81-474e-9095-9598add3c9d2" providerId="ADAL" clId="{3125018F-0847-4360-889A-A6396523E99E}" dt="2022-07-12T12:06:12.171" v="2028" actId="478"/>
          <ac:picMkLst>
            <pc:docMk/>
            <pc:sldMk cId="3246406989" sldId="304"/>
            <ac:picMk id="44" creationId="{ABC5E66E-CD84-9FCE-7769-78100AD4FBBB}"/>
          </ac:picMkLst>
        </pc:picChg>
        <pc:picChg chg="add mod">
          <ac:chgData name="Chloé Julie Charlotte Canavate" userId="a7bbf622-9e81-474e-9095-9598add3c9d2" providerId="ADAL" clId="{3125018F-0847-4360-889A-A6396523E99E}" dt="2022-07-12T12:24:25.520" v="2510" actId="1076"/>
          <ac:picMkLst>
            <pc:docMk/>
            <pc:sldMk cId="3246406989" sldId="304"/>
            <ac:picMk id="46" creationId="{C0ECADB7-15DF-23CF-30E2-12A4BB13DD30}"/>
          </ac:picMkLst>
        </pc:picChg>
        <pc:picChg chg="add mod">
          <ac:chgData name="Chloé Julie Charlotte Canavate" userId="a7bbf622-9e81-474e-9095-9598add3c9d2" providerId="ADAL" clId="{3125018F-0847-4360-889A-A6396523E99E}" dt="2022-07-12T12:08:33.951" v="2064" actId="164"/>
          <ac:picMkLst>
            <pc:docMk/>
            <pc:sldMk cId="3246406989" sldId="304"/>
            <ac:picMk id="47" creationId="{04D766E0-E4B2-C8A0-A67A-8D5C32384298}"/>
          </ac:picMkLst>
        </pc:picChg>
        <pc:picChg chg="add mod">
          <ac:chgData name="Chloé Julie Charlotte Canavate" userId="a7bbf622-9e81-474e-9095-9598add3c9d2" providerId="ADAL" clId="{3125018F-0847-4360-889A-A6396523E99E}" dt="2022-07-12T12:08:33.951" v="2064" actId="164"/>
          <ac:picMkLst>
            <pc:docMk/>
            <pc:sldMk cId="3246406989" sldId="304"/>
            <ac:picMk id="48" creationId="{E160E5D0-E44D-A0AC-F3FC-274FC845788E}"/>
          </ac:picMkLst>
        </pc:picChg>
        <pc:picChg chg="add mod">
          <ac:chgData name="Chloé Julie Charlotte Canavate" userId="a7bbf622-9e81-474e-9095-9598add3c9d2" providerId="ADAL" clId="{3125018F-0847-4360-889A-A6396523E99E}" dt="2022-07-12T12:24:25.520" v="2510" actId="1076"/>
          <ac:picMkLst>
            <pc:docMk/>
            <pc:sldMk cId="3246406989" sldId="304"/>
            <ac:picMk id="55" creationId="{F5FEC9E2-9E2E-C615-2506-3E489D675EC8}"/>
          </ac:picMkLst>
        </pc:picChg>
        <pc:picChg chg="add mod">
          <ac:chgData name="Chloé Julie Charlotte Canavate" userId="a7bbf622-9e81-474e-9095-9598add3c9d2" providerId="ADAL" clId="{3125018F-0847-4360-889A-A6396523E99E}" dt="2022-07-12T12:26:51.709" v="2525" actId="1076"/>
          <ac:picMkLst>
            <pc:docMk/>
            <pc:sldMk cId="3246406989" sldId="304"/>
            <ac:picMk id="63" creationId="{4D643F69-0937-4BFE-2D94-48ACB03A1E25}"/>
          </ac:picMkLst>
        </pc:picChg>
        <pc:picChg chg="add mod">
          <ac:chgData name="Chloé Julie Charlotte Canavate" userId="a7bbf622-9e81-474e-9095-9598add3c9d2" providerId="ADAL" clId="{3125018F-0847-4360-889A-A6396523E99E}" dt="2022-07-12T12:28:33.376" v="2536" actId="1076"/>
          <ac:picMkLst>
            <pc:docMk/>
            <pc:sldMk cId="3246406989" sldId="304"/>
            <ac:picMk id="64" creationId="{9F64DAD8-5B7E-91BE-6078-C6CCD8AF1363}"/>
          </ac:picMkLst>
        </pc:picChg>
        <pc:picChg chg="del">
          <ac:chgData name="Chloé Julie Charlotte Canavate" userId="a7bbf622-9e81-474e-9095-9598add3c9d2" providerId="ADAL" clId="{3125018F-0847-4360-889A-A6396523E99E}" dt="2022-07-12T12:05:46.953" v="2025" actId="478"/>
          <ac:picMkLst>
            <pc:docMk/>
            <pc:sldMk cId="3246406989" sldId="304"/>
            <ac:picMk id="1026" creationId="{699774F4-B00A-5604-19DB-E29B5748F816}"/>
          </ac:picMkLst>
        </pc:picChg>
        <pc:picChg chg="add mod">
          <ac:chgData name="Chloé Julie Charlotte Canavate" userId="a7bbf622-9e81-474e-9095-9598add3c9d2" providerId="ADAL" clId="{3125018F-0847-4360-889A-A6396523E99E}" dt="2022-07-12T13:00:46.844" v="2889" actId="1038"/>
          <ac:picMkLst>
            <pc:docMk/>
            <pc:sldMk cId="3246406989" sldId="304"/>
            <ac:picMk id="1028" creationId="{A9B0EE87-F4EC-E29B-C503-ED1194415602}"/>
          </ac:picMkLst>
        </pc:picChg>
        <pc:cxnChg chg="del">
          <ac:chgData name="Chloé Julie Charlotte Canavate" userId="a7bbf622-9e81-474e-9095-9598add3c9d2" providerId="ADAL" clId="{3125018F-0847-4360-889A-A6396523E99E}" dt="2022-07-12T12:05:46.953" v="2025" actId="478"/>
          <ac:cxnSpMkLst>
            <pc:docMk/>
            <pc:sldMk cId="3246406989" sldId="304"/>
            <ac:cxnSpMk id="12" creationId="{837EE84E-3BB9-EB78-C0ED-F99D4B0CC303}"/>
          </ac:cxnSpMkLst>
        </pc:cxnChg>
        <pc:cxnChg chg="del">
          <ac:chgData name="Chloé Julie Charlotte Canavate" userId="a7bbf622-9e81-474e-9095-9598add3c9d2" providerId="ADAL" clId="{3125018F-0847-4360-889A-A6396523E99E}" dt="2022-07-12T12:05:46.953" v="2025" actId="478"/>
          <ac:cxnSpMkLst>
            <pc:docMk/>
            <pc:sldMk cId="3246406989" sldId="304"/>
            <ac:cxnSpMk id="14" creationId="{2CFB1072-B24C-BA2B-53F4-F9C9599C474E}"/>
          </ac:cxnSpMkLst>
        </pc:cxnChg>
        <pc:cxnChg chg="del">
          <ac:chgData name="Chloé Julie Charlotte Canavate" userId="a7bbf622-9e81-474e-9095-9598add3c9d2" providerId="ADAL" clId="{3125018F-0847-4360-889A-A6396523E99E}" dt="2022-07-12T12:05:46.953" v="2025" actId="478"/>
          <ac:cxnSpMkLst>
            <pc:docMk/>
            <pc:sldMk cId="3246406989" sldId="304"/>
            <ac:cxnSpMk id="15" creationId="{CCF1D31B-0205-EDFB-CF11-EBE3684B45B5}"/>
          </ac:cxnSpMkLst>
        </pc:cxnChg>
        <pc:cxnChg chg="del">
          <ac:chgData name="Chloé Julie Charlotte Canavate" userId="a7bbf622-9e81-474e-9095-9598add3c9d2" providerId="ADAL" clId="{3125018F-0847-4360-889A-A6396523E99E}" dt="2022-07-12T12:05:46.953" v="2025" actId="478"/>
          <ac:cxnSpMkLst>
            <pc:docMk/>
            <pc:sldMk cId="3246406989" sldId="304"/>
            <ac:cxnSpMk id="16" creationId="{925CA058-A50B-B16C-2842-326440DF2529}"/>
          </ac:cxnSpMkLst>
        </pc:cxnChg>
        <pc:cxnChg chg="del">
          <ac:chgData name="Chloé Julie Charlotte Canavate" userId="a7bbf622-9e81-474e-9095-9598add3c9d2" providerId="ADAL" clId="{3125018F-0847-4360-889A-A6396523E99E}" dt="2022-07-12T12:05:46.953" v="2025" actId="478"/>
          <ac:cxnSpMkLst>
            <pc:docMk/>
            <pc:sldMk cId="3246406989" sldId="304"/>
            <ac:cxnSpMk id="20" creationId="{20FD3EAB-F68B-48C2-9A25-4F724A26BFDF}"/>
          </ac:cxnSpMkLst>
        </pc:cxnChg>
        <pc:cxnChg chg="add mod">
          <ac:chgData name="Chloé Julie Charlotte Canavate" userId="a7bbf622-9e81-474e-9095-9598add3c9d2" providerId="ADAL" clId="{3125018F-0847-4360-889A-A6396523E99E}" dt="2022-07-12T12:08:33.951" v="2064" actId="164"/>
          <ac:cxnSpMkLst>
            <pc:docMk/>
            <pc:sldMk cId="3246406989" sldId="304"/>
            <ac:cxnSpMk id="51" creationId="{4757DF00-2273-4A6A-246F-EC663D66FA33}"/>
          </ac:cxnSpMkLst>
        </pc:cxnChg>
        <pc:cxnChg chg="add mod">
          <ac:chgData name="Chloé Julie Charlotte Canavate" userId="a7bbf622-9e81-474e-9095-9598add3c9d2" providerId="ADAL" clId="{3125018F-0847-4360-889A-A6396523E99E}" dt="2022-07-12T12:08:33.951" v="2064" actId="164"/>
          <ac:cxnSpMkLst>
            <pc:docMk/>
            <pc:sldMk cId="3246406989" sldId="304"/>
            <ac:cxnSpMk id="52" creationId="{03762A9A-52E2-AFB1-20FD-92330EE87B7D}"/>
          </ac:cxnSpMkLst>
        </pc:cxnChg>
      </pc:sldChg>
      <pc:sldChg chg="addSp delSp modSp add mod">
        <pc:chgData name="Chloé Julie Charlotte Canavate" userId="a7bbf622-9e81-474e-9095-9598add3c9d2" providerId="ADAL" clId="{3125018F-0847-4360-889A-A6396523E99E}" dt="2022-07-12T13:09:42.905" v="3004" actId="478"/>
        <pc:sldMkLst>
          <pc:docMk/>
          <pc:sldMk cId="2166327355" sldId="305"/>
        </pc:sldMkLst>
        <pc:spChg chg="add mod">
          <ac:chgData name="Chloé Julie Charlotte Canavate" userId="a7bbf622-9e81-474e-9095-9598add3c9d2" providerId="ADAL" clId="{3125018F-0847-4360-889A-A6396523E99E}" dt="2022-07-12T12:57:13.874" v="2880" actId="1076"/>
          <ac:spMkLst>
            <pc:docMk/>
            <pc:sldMk cId="2166327355" sldId="305"/>
            <ac:spMk id="3" creationId="{04B6121C-0805-EEDA-0808-D0394BAF6476}"/>
          </ac:spMkLst>
        </pc:spChg>
        <pc:spChg chg="mod ord">
          <ac:chgData name="Chloé Julie Charlotte Canavate" userId="a7bbf622-9e81-474e-9095-9598add3c9d2" providerId="ADAL" clId="{3125018F-0847-4360-889A-A6396523E99E}" dt="2022-07-12T12:57:13.874" v="2880" actId="1076"/>
          <ac:spMkLst>
            <pc:docMk/>
            <pc:sldMk cId="2166327355" sldId="305"/>
            <ac:spMk id="9" creationId="{52B19294-94D7-B587-3BA9-568E34428737}"/>
          </ac:spMkLst>
        </pc:spChg>
        <pc:spChg chg="mod">
          <ac:chgData name="Chloé Julie Charlotte Canavate" userId="a7bbf622-9e81-474e-9095-9598add3c9d2" providerId="ADAL" clId="{3125018F-0847-4360-889A-A6396523E99E}" dt="2022-07-12T12:57:13.874" v="2880" actId="1076"/>
          <ac:spMkLst>
            <pc:docMk/>
            <pc:sldMk cId="2166327355" sldId="305"/>
            <ac:spMk id="10" creationId="{9529667F-364D-E919-A730-221723A84C73}"/>
          </ac:spMkLst>
        </pc:spChg>
        <pc:spChg chg="del mod">
          <ac:chgData name="Chloé Julie Charlotte Canavate" userId="a7bbf622-9e81-474e-9095-9598add3c9d2" providerId="ADAL" clId="{3125018F-0847-4360-889A-A6396523E99E}" dt="2022-07-12T12:32:17.116" v="2558" actId="478"/>
          <ac:spMkLst>
            <pc:docMk/>
            <pc:sldMk cId="2166327355" sldId="305"/>
            <ac:spMk id="11" creationId="{BA1B6992-312C-F7E4-EF1C-17B48236AABA}"/>
          </ac:spMkLst>
        </pc:spChg>
        <pc:spChg chg="mod">
          <ac:chgData name="Chloé Julie Charlotte Canavate" userId="a7bbf622-9e81-474e-9095-9598add3c9d2" providerId="ADAL" clId="{3125018F-0847-4360-889A-A6396523E99E}" dt="2022-07-12T12:57:13.874" v="2880" actId="1076"/>
          <ac:spMkLst>
            <pc:docMk/>
            <pc:sldMk cId="2166327355" sldId="305"/>
            <ac:spMk id="15" creationId="{BA9B2F38-66C4-8F57-281E-16E1036E287F}"/>
          </ac:spMkLst>
        </pc:spChg>
        <pc:spChg chg="add del mod">
          <ac:chgData name="Chloé Julie Charlotte Canavate" userId="a7bbf622-9e81-474e-9095-9598add3c9d2" providerId="ADAL" clId="{3125018F-0847-4360-889A-A6396523E99E}" dt="2022-07-12T12:34:43.869" v="2581" actId="478"/>
          <ac:spMkLst>
            <pc:docMk/>
            <pc:sldMk cId="2166327355" sldId="305"/>
            <ac:spMk id="20" creationId="{DA69407E-235A-CA6D-F7CF-8FAB3C218743}"/>
          </ac:spMkLst>
        </pc:spChg>
        <pc:spChg chg="add mod">
          <ac:chgData name="Chloé Julie Charlotte Canavate" userId="a7bbf622-9e81-474e-9095-9598add3c9d2" providerId="ADAL" clId="{3125018F-0847-4360-889A-A6396523E99E}" dt="2022-07-12T12:57:13.874" v="2880" actId="1076"/>
          <ac:spMkLst>
            <pc:docMk/>
            <pc:sldMk cId="2166327355" sldId="305"/>
            <ac:spMk id="22" creationId="{4C05FCCA-37CD-1593-8F8B-647E093F3421}"/>
          </ac:spMkLst>
        </pc:spChg>
        <pc:spChg chg="add mod">
          <ac:chgData name="Chloé Julie Charlotte Canavate" userId="a7bbf622-9e81-474e-9095-9598add3c9d2" providerId="ADAL" clId="{3125018F-0847-4360-889A-A6396523E99E}" dt="2022-07-12T12:57:13.874" v="2880" actId="1076"/>
          <ac:spMkLst>
            <pc:docMk/>
            <pc:sldMk cId="2166327355" sldId="305"/>
            <ac:spMk id="25" creationId="{F66BF29B-7007-7A96-F97F-C921D75D2913}"/>
          </ac:spMkLst>
        </pc:spChg>
        <pc:spChg chg="add mod">
          <ac:chgData name="Chloé Julie Charlotte Canavate" userId="a7bbf622-9e81-474e-9095-9598add3c9d2" providerId="ADAL" clId="{3125018F-0847-4360-889A-A6396523E99E}" dt="2022-07-12T12:57:13.874" v="2880" actId="1076"/>
          <ac:spMkLst>
            <pc:docMk/>
            <pc:sldMk cId="2166327355" sldId="305"/>
            <ac:spMk id="26" creationId="{DD970476-5A20-16CF-7E68-A0D3FABEBF49}"/>
          </ac:spMkLst>
        </pc:spChg>
        <pc:spChg chg="add mod">
          <ac:chgData name="Chloé Julie Charlotte Canavate" userId="a7bbf622-9e81-474e-9095-9598add3c9d2" providerId="ADAL" clId="{3125018F-0847-4360-889A-A6396523E99E}" dt="2022-07-12T12:57:13.874" v="2880" actId="1076"/>
          <ac:spMkLst>
            <pc:docMk/>
            <pc:sldMk cId="2166327355" sldId="305"/>
            <ac:spMk id="27" creationId="{C97D663B-AE8B-8831-E5B3-DB0B71D3CA8E}"/>
          </ac:spMkLst>
        </pc:spChg>
        <pc:spChg chg="add mod ord">
          <ac:chgData name="Chloé Julie Charlotte Canavate" userId="a7bbf622-9e81-474e-9095-9598add3c9d2" providerId="ADAL" clId="{3125018F-0847-4360-889A-A6396523E99E}" dt="2022-07-12T12:57:27.312" v="2881" actId="1076"/>
          <ac:spMkLst>
            <pc:docMk/>
            <pc:sldMk cId="2166327355" sldId="305"/>
            <ac:spMk id="28" creationId="{3007CD3B-B56C-339E-75B4-474BB53F3924}"/>
          </ac:spMkLst>
        </pc:spChg>
        <pc:spChg chg="add mod">
          <ac:chgData name="Chloé Julie Charlotte Canavate" userId="a7bbf622-9e81-474e-9095-9598add3c9d2" providerId="ADAL" clId="{3125018F-0847-4360-889A-A6396523E99E}" dt="2022-07-12T13:04:03.218" v="2925" actId="1076"/>
          <ac:spMkLst>
            <pc:docMk/>
            <pc:sldMk cId="2166327355" sldId="305"/>
            <ac:spMk id="33" creationId="{BC70B79E-92F8-2658-9D7C-408EA43F6A9F}"/>
          </ac:spMkLst>
        </pc:spChg>
        <pc:spChg chg="mod">
          <ac:chgData name="Chloé Julie Charlotte Canavate" userId="a7bbf622-9e81-474e-9095-9598add3c9d2" providerId="ADAL" clId="{3125018F-0847-4360-889A-A6396523E99E}" dt="2022-07-12T12:44:33.090" v="2700" actId="27803"/>
          <ac:spMkLst>
            <pc:docMk/>
            <pc:sldMk cId="2166327355" sldId="305"/>
            <ac:spMk id="38" creationId="{0852C48E-159F-5F55-17F6-269F43505420}"/>
          </ac:spMkLst>
        </pc:spChg>
        <pc:spChg chg="mod">
          <ac:chgData name="Chloé Julie Charlotte Canavate" userId="a7bbf622-9e81-474e-9095-9598add3c9d2" providerId="ADAL" clId="{3125018F-0847-4360-889A-A6396523E99E}" dt="2022-07-12T12:44:33.090" v="2700" actId="27803"/>
          <ac:spMkLst>
            <pc:docMk/>
            <pc:sldMk cId="2166327355" sldId="305"/>
            <ac:spMk id="39" creationId="{F905AC42-48C9-33A2-39DA-66A6424BF2D4}"/>
          </ac:spMkLst>
        </pc:spChg>
        <pc:spChg chg="mod">
          <ac:chgData name="Chloé Julie Charlotte Canavate" userId="a7bbf622-9e81-474e-9095-9598add3c9d2" providerId="ADAL" clId="{3125018F-0847-4360-889A-A6396523E99E}" dt="2022-07-12T12:44:33.090" v="2700" actId="27803"/>
          <ac:spMkLst>
            <pc:docMk/>
            <pc:sldMk cId="2166327355" sldId="305"/>
            <ac:spMk id="40" creationId="{EB4037A6-0128-4064-7E7D-1D79C6FC0E09}"/>
          </ac:spMkLst>
        </pc:spChg>
        <pc:spChg chg="mod">
          <ac:chgData name="Chloé Julie Charlotte Canavate" userId="a7bbf622-9e81-474e-9095-9598add3c9d2" providerId="ADAL" clId="{3125018F-0847-4360-889A-A6396523E99E}" dt="2022-07-12T12:44:33.090" v="2700" actId="27803"/>
          <ac:spMkLst>
            <pc:docMk/>
            <pc:sldMk cId="2166327355" sldId="305"/>
            <ac:spMk id="41" creationId="{462D78FF-972D-2C9D-E775-7FCD7756DB5C}"/>
          </ac:spMkLst>
        </pc:spChg>
        <pc:spChg chg="mod">
          <ac:chgData name="Chloé Julie Charlotte Canavate" userId="a7bbf622-9e81-474e-9095-9598add3c9d2" providerId="ADAL" clId="{3125018F-0847-4360-889A-A6396523E99E}" dt="2022-07-12T12:44:33.090" v="2700" actId="27803"/>
          <ac:spMkLst>
            <pc:docMk/>
            <pc:sldMk cId="2166327355" sldId="305"/>
            <ac:spMk id="42" creationId="{0E3A52A3-40F6-6E8E-A300-15655D7C5E40}"/>
          </ac:spMkLst>
        </pc:spChg>
        <pc:spChg chg="mod">
          <ac:chgData name="Chloé Julie Charlotte Canavate" userId="a7bbf622-9e81-474e-9095-9598add3c9d2" providerId="ADAL" clId="{3125018F-0847-4360-889A-A6396523E99E}" dt="2022-07-12T12:44:33.090" v="2700" actId="27803"/>
          <ac:spMkLst>
            <pc:docMk/>
            <pc:sldMk cId="2166327355" sldId="305"/>
            <ac:spMk id="43" creationId="{0FC8FE56-0469-1294-A0B4-10750B5F95DF}"/>
          </ac:spMkLst>
        </pc:spChg>
        <pc:spChg chg="mod">
          <ac:chgData name="Chloé Julie Charlotte Canavate" userId="a7bbf622-9e81-474e-9095-9598add3c9d2" providerId="ADAL" clId="{3125018F-0847-4360-889A-A6396523E99E}" dt="2022-07-12T12:44:37.884" v="2703" actId="27803"/>
          <ac:spMkLst>
            <pc:docMk/>
            <pc:sldMk cId="2166327355" sldId="305"/>
            <ac:spMk id="45" creationId="{DD8C7F0E-0028-16ED-7067-AA33E75FC047}"/>
          </ac:spMkLst>
        </pc:spChg>
        <pc:spChg chg="mod">
          <ac:chgData name="Chloé Julie Charlotte Canavate" userId="a7bbf622-9e81-474e-9095-9598add3c9d2" providerId="ADAL" clId="{3125018F-0847-4360-889A-A6396523E99E}" dt="2022-07-12T12:44:37.884" v="2703" actId="27803"/>
          <ac:spMkLst>
            <pc:docMk/>
            <pc:sldMk cId="2166327355" sldId="305"/>
            <ac:spMk id="46" creationId="{5B9E51B2-73EF-0D6D-8961-7CC931E33400}"/>
          </ac:spMkLst>
        </pc:spChg>
        <pc:spChg chg="mod">
          <ac:chgData name="Chloé Julie Charlotte Canavate" userId="a7bbf622-9e81-474e-9095-9598add3c9d2" providerId="ADAL" clId="{3125018F-0847-4360-889A-A6396523E99E}" dt="2022-07-12T12:44:37.884" v="2703" actId="27803"/>
          <ac:spMkLst>
            <pc:docMk/>
            <pc:sldMk cId="2166327355" sldId="305"/>
            <ac:spMk id="47" creationId="{A523501B-3EFC-13BF-8DFB-3844A327FDEE}"/>
          </ac:spMkLst>
        </pc:spChg>
        <pc:spChg chg="mod">
          <ac:chgData name="Chloé Julie Charlotte Canavate" userId="a7bbf622-9e81-474e-9095-9598add3c9d2" providerId="ADAL" clId="{3125018F-0847-4360-889A-A6396523E99E}" dt="2022-07-12T12:44:37.884" v="2703" actId="27803"/>
          <ac:spMkLst>
            <pc:docMk/>
            <pc:sldMk cId="2166327355" sldId="305"/>
            <ac:spMk id="48" creationId="{333C3236-8FAF-017D-D269-1651B65681B8}"/>
          </ac:spMkLst>
        </pc:spChg>
        <pc:spChg chg="mod">
          <ac:chgData name="Chloé Julie Charlotte Canavate" userId="a7bbf622-9e81-474e-9095-9598add3c9d2" providerId="ADAL" clId="{3125018F-0847-4360-889A-A6396523E99E}" dt="2022-07-12T12:44:37.884" v="2703" actId="27803"/>
          <ac:spMkLst>
            <pc:docMk/>
            <pc:sldMk cId="2166327355" sldId="305"/>
            <ac:spMk id="49" creationId="{8487F275-EF2A-5D78-F262-2F23680769EE}"/>
          </ac:spMkLst>
        </pc:spChg>
        <pc:spChg chg="mod">
          <ac:chgData name="Chloé Julie Charlotte Canavate" userId="a7bbf622-9e81-474e-9095-9598add3c9d2" providerId="ADAL" clId="{3125018F-0847-4360-889A-A6396523E99E}" dt="2022-07-12T12:44:37.884" v="2703" actId="27803"/>
          <ac:spMkLst>
            <pc:docMk/>
            <pc:sldMk cId="2166327355" sldId="305"/>
            <ac:spMk id="50" creationId="{56D704F0-5468-DA82-93EE-E95D9419654D}"/>
          </ac:spMkLst>
        </pc:spChg>
        <pc:spChg chg="add mod">
          <ac:chgData name="Chloé Julie Charlotte Canavate" userId="a7bbf622-9e81-474e-9095-9598add3c9d2" providerId="ADAL" clId="{3125018F-0847-4360-889A-A6396523E99E}" dt="2022-07-12T12:57:27.312" v="2881" actId="1076"/>
          <ac:spMkLst>
            <pc:docMk/>
            <pc:sldMk cId="2166327355" sldId="305"/>
            <ac:spMk id="55" creationId="{88DB3279-B80C-4250-211C-0723FCBB46D4}"/>
          </ac:spMkLst>
        </pc:spChg>
        <pc:spChg chg="add mod">
          <ac:chgData name="Chloé Julie Charlotte Canavate" userId="a7bbf622-9e81-474e-9095-9598add3c9d2" providerId="ADAL" clId="{3125018F-0847-4360-889A-A6396523E99E}" dt="2022-07-12T12:57:13.874" v="2880" actId="1076"/>
          <ac:spMkLst>
            <pc:docMk/>
            <pc:sldMk cId="2166327355" sldId="305"/>
            <ac:spMk id="62" creationId="{D7E6EC55-01B1-FD59-DF62-90E84E4459D6}"/>
          </ac:spMkLst>
        </pc:spChg>
        <pc:spChg chg="add mod">
          <ac:chgData name="Chloé Julie Charlotte Canavate" userId="a7bbf622-9e81-474e-9095-9598add3c9d2" providerId="ADAL" clId="{3125018F-0847-4360-889A-A6396523E99E}" dt="2022-07-12T12:57:27.312" v="2881" actId="1076"/>
          <ac:spMkLst>
            <pc:docMk/>
            <pc:sldMk cId="2166327355" sldId="305"/>
            <ac:spMk id="68" creationId="{41DF8B09-7781-CF35-8309-E0A5E3FD4263}"/>
          </ac:spMkLst>
        </pc:spChg>
        <pc:spChg chg="add del mod">
          <ac:chgData name="Chloé Julie Charlotte Canavate" userId="a7bbf622-9e81-474e-9095-9598add3c9d2" providerId="ADAL" clId="{3125018F-0847-4360-889A-A6396523E99E}" dt="2022-07-12T13:09:42.905" v="3004" actId="478"/>
          <ac:spMkLst>
            <pc:docMk/>
            <pc:sldMk cId="2166327355" sldId="305"/>
            <ac:spMk id="71" creationId="{0C613833-8A72-2B67-750F-38A3FDAA0DB2}"/>
          </ac:spMkLst>
        </pc:spChg>
        <pc:spChg chg="add mod">
          <ac:chgData name="Chloé Julie Charlotte Canavate" userId="a7bbf622-9e81-474e-9095-9598add3c9d2" providerId="ADAL" clId="{3125018F-0847-4360-889A-A6396523E99E}" dt="2022-07-12T12:57:27.312" v="2881" actId="1076"/>
          <ac:spMkLst>
            <pc:docMk/>
            <pc:sldMk cId="2166327355" sldId="305"/>
            <ac:spMk id="72" creationId="{1B34BC16-1E4D-766B-B455-4DB8369A9512}"/>
          </ac:spMkLst>
        </pc:spChg>
        <pc:grpChg chg="mod">
          <ac:chgData name="Chloé Julie Charlotte Canavate" userId="a7bbf622-9e81-474e-9095-9598add3c9d2" providerId="ADAL" clId="{3125018F-0847-4360-889A-A6396523E99E}" dt="2022-07-12T12:44:37.026" v="2702" actId="1076"/>
          <ac:grpSpMkLst>
            <pc:docMk/>
            <pc:sldMk cId="2166327355" sldId="305"/>
            <ac:grpSpMk id="37" creationId="{5C85A2AB-9A94-6493-6953-E545EE67CCB9}"/>
          </ac:grpSpMkLst>
        </pc:grpChg>
        <pc:grpChg chg="add del mod">
          <ac:chgData name="Chloé Julie Charlotte Canavate" userId="a7bbf622-9e81-474e-9095-9598add3c9d2" providerId="ADAL" clId="{3125018F-0847-4360-889A-A6396523E99E}" dt="2022-07-12T12:44:37.884" v="2703" actId="27803"/>
          <ac:grpSpMkLst>
            <pc:docMk/>
            <pc:sldMk cId="2166327355" sldId="305"/>
            <ac:grpSpMk id="44" creationId="{664E47FD-ED0A-A41C-1702-A3608C40045E}"/>
          </ac:grpSpMkLst>
        </pc:grpChg>
        <pc:grpChg chg="add del mod">
          <ac:chgData name="Chloé Julie Charlotte Canavate" userId="a7bbf622-9e81-474e-9095-9598add3c9d2" providerId="ADAL" clId="{3125018F-0847-4360-889A-A6396523E99E}" dt="2022-07-12T12:44:53.611" v="2709" actId="164"/>
          <ac:grpSpMkLst>
            <pc:docMk/>
            <pc:sldMk cId="2166327355" sldId="305"/>
            <ac:grpSpMk id="51" creationId="{B7D6DA7E-6164-FB6B-A9C6-8AF1B228D220}"/>
          </ac:grpSpMkLst>
        </pc:grpChg>
        <pc:picChg chg="mod">
          <ac:chgData name="Chloé Julie Charlotte Canavate" userId="a7bbf622-9e81-474e-9095-9598add3c9d2" providerId="ADAL" clId="{3125018F-0847-4360-889A-A6396523E99E}" dt="2022-07-12T12:57:13.874" v="2880" actId="1076"/>
          <ac:picMkLst>
            <pc:docMk/>
            <pc:sldMk cId="2166327355" sldId="305"/>
            <ac:picMk id="7" creationId="{9C4D0B2D-CE43-6508-9F80-A804F6991A04}"/>
          </ac:picMkLst>
        </pc:picChg>
        <pc:picChg chg="mod">
          <ac:chgData name="Chloé Julie Charlotte Canavate" userId="a7bbf622-9e81-474e-9095-9598add3c9d2" providerId="ADAL" clId="{3125018F-0847-4360-889A-A6396523E99E}" dt="2022-07-12T12:57:13.874" v="2880" actId="1076"/>
          <ac:picMkLst>
            <pc:docMk/>
            <pc:sldMk cId="2166327355" sldId="305"/>
            <ac:picMk id="8" creationId="{DE387D04-1D2C-62E3-2F4B-BFA984F89C6C}"/>
          </ac:picMkLst>
        </pc:picChg>
        <pc:picChg chg="mod">
          <ac:chgData name="Chloé Julie Charlotte Canavate" userId="a7bbf622-9e81-474e-9095-9598add3c9d2" providerId="ADAL" clId="{3125018F-0847-4360-889A-A6396523E99E}" dt="2022-07-12T12:57:13.874" v="2880" actId="1076"/>
          <ac:picMkLst>
            <pc:docMk/>
            <pc:sldMk cId="2166327355" sldId="305"/>
            <ac:picMk id="16" creationId="{F6EA53AA-407B-FDF3-09FC-E28335A00706}"/>
          </ac:picMkLst>
        </pc:picChg>
        <pc:picChg chg="add del mod">
          <ac:chgData name="Chloé Julie Charlotte Canavate" userId="a7bbf622-9e81-474e-9095-9598add3c9d2" providerId="ADAL" clId="{3125018F-0847-4360-889A-A6396523E99E}" dt="2022-07-12T12:34:42.151" v="2580" actId="478"/>
          <ac:picMkLst>
            <pc:docMk/>
            <pc:sldMk cId="2166327355" sldId="305"/>
            <ac:picMk id="21" creationId="{62F9A233-66EC-1C05-D31B-A4B86AAC0049}"/>
          </ac:picMkLst>
        </pc:picChg>
        <pc:picChg chg="mod">
          <ac:chgData name="Chloé Julie Charlotte Canavate" userId="a7bbf622-9e81-474e-9095-9598add3c9d2" providerId="ADAL" clId="{3125018F-0847-4360-889A-A6396523E99E}" dt="2022-07-12T12:57:13.874" v="2880" actId="1076"/>
          <ac:picMkLst>
            <pc:docMk/>
            <pc:sldMk cId="2166327355" sldId="305"/>
            <ac:picMk id="24" creationId="{01173C8E-4076-12E0-EC9B-BECB23079DED}"/>
          </ac:picMkLst>
        </pc:picChg>
        <pc:picChg chg="add del mod topLvl">
          <ac:chgData name="Chloé Julie Charlotte Canavate" userId="a7bbf622-9e81-474e-9095-9598add3c9d2" providerId="ADAL" clId="{3125018F-0847-4360-889A-A6396523E99E}" dt="2022-07-12T12:44:55.063" v="2712" actId="931"/>
          <ac:picMkLst>
            <pc:docMk/>
            <pc:sldMk cId="2166327355" sldId="305"/>
            <ac:picMk id="34" creationId="{794CB5B6-7776-1D38-A180-F1B7065C5DFA}"/>
          </ac:picMkLst>
        </pc:picChg>
        <pc:picChg chg="add del mod topLvl">
          <ac:chgData name="Chloé Julie Charlotte Canavate" userId="a7bbf622-9e81-474e-9095-9598add3c9d2" providerId="ADAL" clId="{3125018F-0847-4360-889A-A6396523E99E}" dt="2022-07-12T12:44:55.063" v="2712" actId="931"/>
          <ac:picMkLst>
            <pc:docMk/>
            <pc:sldMk cId="2166327355" sldId="305"/>
            <ac:picMk id="36" creationId="{058FFF11-EA54-8DD8-DC11-A608EBF64B2D}"/>
          </ac:picMkLst>
        </pc:picChg>
        <pc:picChg chg="add mod">
          <ac:chgData name="Chloé Julie Charlotte Canavate" userId="a7bbf622-9e81-474e-9095-9598add3c9d2" providerId="ADAL" clId="{3125018F-0847-4360-889A-A6396523E99E}" dt="2022-07-12T12:57:27.312" v="2881" actId="1076"/>
          <ac:picMkLst>
            <pc:docMk/>
            <pc:sldMk cId="2166327355" sldId="305"/>
            <ac:picMk id="53" creationId="{33F9E779-A653-7DD3-B00B-FB6671B7E9EF}"/>
          </ac:picMkLst>
        </pc:picChg>
        <pc:picChg chg="add mod">
          <ac:chgData name="Chloé Julie Charlotte Canavate" userId="a7bbf622-9e81-474e-9095-9598add3c9d2" providerId="ADAL" clId="{3125018F-0847-4360-889A-A6396523E99E}" dt="2022-07-12T12:57:27.312" v="2881" actId="1076"/>
          <ac:picMkLst>
            <pc:docMk/>
            <pc:sldMk cId="2166327355" sldId="305"/>
            <ac:picMk id="2050" creationId="{C59B3682-38F3-42F6-E2A7-DADCCD804130}"/>
          </ac:picMkLst>
        </pc:picChg>
        <pc:picChg chg="add del mod">
          <ac:chgData name="Chloé Julie Charlotte Canavate" userId="a7bbf622-9e81-474e-9095-9598add3c9d2" providerId="ADAL" clId="{3125018F-0847-4360-889A-A6396523E99E}" dt="2022-07-12T12:49:38.857" v="2779" actId="478"/>
          <ac:picMkLst>
            <pc:docMk/>
            <pc:sldMk cId="2166327355" sldId="305"/>
            <ac:picMk id="2052" creationId="{9EDBCE20-0500-D9E5-FC7F-F1D351DA7BC9}"/>
          </ac:picMkLst>
        </pc:picChg>
        <pc:inkChg chg="mod">
          <ac:chgData name="Chloé Julie Charlotte Canavate" userId="a7bbf622-9e81-474e-9095-9598add3c9d2" providerId="ADAL" clId="{3125018F-0847-4360-889A-A6396523E99E}" dt="2022-07-12T12:57:13.874" v="2880" actId="1076"/>
          <ac:inkMkLst>
            <pc:docMk/>
            <pc:sldMk cId="2166327355" sldId="305"/>
            <ac:inkMk id="12" creationId="{F7F7F897-C55A-4C88-D858-311CACE3AED1}"/>
          </ac:inkMkLst>
        </pc:inkChg>
        <pc:inkChg chg="mod">
          <ac:chgData name="Chloé Julie Charlotte Canavate" userId="a7bbf622-9e81-474e-9095-9598add3c9d2" providerId="ADAL" clId="{3125018F-0847-4360-889A-A6396523E99E}" dt="2022-07-12T12:57:13.874" v="2880" actId="1076"/>
          <ac:inkMkLst>
            <pc:docMk/>
            <pc:sldMk cId="2166327355" sldId="305"/>
            <ac:inkMk id="13" creationId="{CEB2F0FF-B2F8-F5F3-85EE-4647E690D659}"/>
          </ac:inkMkLst>
        </pc:inkChg>
        <pc:inkChg chg="mod">
          <ac:chgData name="Chloé Julie Charlotte Canavate" userId="a7bbf622-9e81-474e-9095-9598add3c9d2" providerId="ADAL" clId="{3125018F-0847-4360-889A-A6396523E99E}" dt="2022-07-12T12:57:13.874" v="2880" actId="1076"/>
          <ac:inkMkLst>
            <pc:docMk/>
            <pc:sldMk cId="2166327355" sldId="305"/>
            <ac:inkMk id="14" creationId="{284F72BB-18D1-6557-280C-18C8200BE560}"/>
          </ac:inkMkLst>
        </pc:inkChg>
        <pc:inkChg chg="add del mod">
          <ac:chgData name="Chloé Julie Charlotte Canavate" userId="a7bbf622-9e81-474e-9095-9598add3c9d2" providerId="ADAL" clId="{3125018F-0847-4360-889A-A6396523E99E}" dt="2022-07-12T12:34:24.244" v="2576" actId="478"/>
          <ac:inkMkLst>
            <pc:docMk/>
            <pc:sldMk cId="2166327355" sldId="305"/>
            <ac:inkMk id="18" creationId="{47D949DC-08FD-F773-58A8-5564E6D343E5}"/>
          </ac:inkMkLst>
        </pc:inkChg>
        <pc:inkChg chg="add del mod">
          <ac:chgData name="Chloé Julie Charlotte Canavate" userId="a7bbf622-9e81-474e-9095-9598add3c9d2" providerId="ADAL" clId="{3125018F-0847-4360-889A-A6396523E99E}" dt="2022-07-12T12:34:33.019" v="2578" actId="478"/>
          <ac:inkMkLst>
            <pc:docMk/>
            <pc:sldMk cId="2166327355" sldId="305"/>
            <ac:inkMk id="19" creationId="{64936B36-9D60-24FA-44EB-412D404C42E2}"/>
          </ac:inkMkLst>
        </pc:inkChg>
        <pc:cxnChg chg="add mod">
          <ac:chgData name="Chloé Julie Charlotte Canavate" userId="a7bbf622-9e81-474e-9095-9598add3c9d2" providerId="ADAL" clId="{3125018F-0847-4360-889A-A6396523E99E}" dt="2022-07-12T12:57:13.874" v="2880" actId="1076"/>
          <ac:cxnSpMkLst>
            <pc:docMk/>
            <pc:sldMk cId="2166327355" sldId="305"/>
            <ac:cxnSpMk id="5" creationId="{32607D59-4974-5BD3-0771-87E10EFBD250}"/>
          </ac:cxnSpMkLst>
        </pc:cxnChg>
        <pc:cxnChg chg="add mod">
          <ac:chgData name="Chloé Julie Charlotte Canavate" userId="a7bbf622-9e81-474e-9095-9598add3c9d2" providerId="ADAL" clId="{3125018F-0847-4360-889A-A6396523E99E}" dt="2022-07-12T12:57:13.874" v="2880" actId="1076"/>
          <ac:cxnSpMkLst>
            <pc:docMk/>
            <pc:sldMk cId="2166327355" sldId="305"/>
            <ac:cxnSpMk id="23" creationId="{E61A692C-0EAD-B93B-00B1-9C7855F6A525}"/>
          </ac:cxnSpMkLst>
        </pc:cxnChg>
        <pc:cxnChg chg="add del mod">
          <ac:chgData name="Chloé Julie Charlotte Canavate" userId="a7bbf622-9e81-474e-9095-9598add3c9d2" providerId="ADAL" clId="{3125018F-0847-4360-889A-A6396523E99E}" dt="2022-07-12T12:39:09.030" v="2659" actId="478"/>
          <ac:cxnSpMkLst>
            <pc:docMk/>
            <pc:sldMk cId="2166327355" sldId="305"/>
            <ac:cxnSpMk id="30" creationId="{02F18BDD-9C5E-EDEF-910C-A8E7B31CA5A9}"/>
          </ac:cxnSpMkLst>
        </pc:cxnChg>
        <pc:cxnChg chg="add mod">
          <ac:chgData name="Chloé Julie Charlotte Canavate" userId="a7bbf622-9e81-474e-9095-9598add3c9d2" providerId="ADAL" clId="{3125018F-0847-4360-889A-A6396523E99E}" dt="2022-07-12T12:57:13.874" v="2880" actId="1076"/>
          <ac:cxnSpMkLst>
            <pc:docMk/>
            <pc:sldMk cId="2166327355" sldId="305"/>
            <ac:cxnSpMk id="56" creationId="{764F80F5-C114-7096-A609-37608C5098C2}"/>
          </ac:cxnSpMkLst>
        </pc:cxnChg>
        <pc:cxnChg chg="add mod">
          <ac:chgData name="Chloé Julie Charlotte Canavate" userId="a7bbf622-9e81-474e-9095-9598add3c9d2" providerId="ADAL" clId="{3125018F-0847-4360-889A-A6396523E99E}" dt="2022-07-12T12:57:27.312" v="2881" actId="1076"/>
          <ac:cxnSpMkLst>
            <pc:docMk/>
            <pc:sldMk cId="2166327355" sldId="305"/>
            <ac:cxnSpMk id="58" creationId="{4FD62ACB-658D-EFF1-B151-865F5C3140C5}"/>
          </ac:cxnSpMkLst>
        </pc:cxnChg>
        <pc:cxnChg chg="add mod">
          <ac:chgData name="Chloé Julie Charlotte Canavate" userId="a7bbf622-9e81-474e-9095-9598add3c9d2" providerId="ADAL" clId="{3125018F-0847-4360-889A-A6396523E99E}" dt="2022-07-12T12:57:13.874" v="2880" actId="1076"/>
          <ac:cxnSpMkLst>
            <pc:docMk/>
            <pc:sldMk cId="2166327355" sldId="305"/>
            <ac:cxnSpMk id="63" creationId="{12411EEB-B0DA-5836-3761-DE608D34571B}"/>
          </ac:cxnSpMkLst>
        </pc:cxnChg>
        <pc:cxnChg chg="add del mod">
          <ac:chgData name="Chloé Julie Charlotte Canavate" userId="a7bbf622-9e81-474e-9095-9598add3c9d2" providerId="ADAL" clId="{3125018F-0847-4360-889A-A6396523E99E}" dt="2022-07-12T12:52:23.841" v="2804" actId="478"/>
          <ac:cxnSpMkLst>
            <pc:docMk/>
            <pc:sldMk cId="2166327355" sldId="305"/>
            <ac:cxnSpMk id="66" creationId="{0F3484DA-4DFD-2012-ECC2-E1CDA9A27B01}"/>
          </ac:cxnSpMkLst>
        </pc:cxnChg>
        <pc:cxnChg chg="add mod">
          <ac:chgData name="Chloé Julie Charlotte Canavate" userId="a7bbf622-9e81-474e-9095-9598add3c9d2" providerId="ADAL" clId="{3125018F-0847-4360-889A-A6396523E99E}" dt="2022-07-12T12:57:27.312" v="2881" actId="1076"/>
          <ac:cxnSpMkLst>
            <pc:docMk/>
            <pc:sldMk cId="2166327355" sldId="305"/>
            <ac:cxnSpMk id="69" creationId="{2D3CC83E-0009-5A00-FFCF-986D651C9AF6}"/>
          </ac:cxnSpMkLst>
        </pc:cxnChg>
      </pc:sldChg>
      <pc:sldChg chg="addSp delSp modSp add mod delAnim">
        <pc:chgData name="Chloé Julie Charlotte Canavate" userId="a7bbf622-9e81-474e-9095-9598add3c9d2" providerId="ADAL" clId="{3125018F-0847-4360-889A-A6396523E99E}" dt="2022-07-12T13:47:55.323" v="3671" actId="255"/>
        <pc:sldMkLst>
          <pc:docMk/>
          <pc:sldMk cId="3971449542" sldId="306"/>
        </pc:sldMkLst>
        <pc:spChg chg="del">
          <ac:chgData name="Chloé Julie Charlotte Canavate" userId="a7bbf622-9e81-474e-9095-9598add3c9d2" providerId="ADAL" clId="{3125018F-0847-4360-889A-A6396523E99E}" dt="2022-07-12T13:19:18.578" v="3050" actId="478"/>
          <ac:spMkLst>
            <pc:docMk/>
            <pc:sldMk cId="3971449542" sldId="306"/>
            <ac:spMk id="10" creationId="{2C449833-C45A-755C-3F4D-3EE7D6B6D03F}"/>
          </ac:spMkLst>
        </pc:spChg>
        <pc:spChg chg="mod">
          <ac:chgData name="Chloé Julie Charlotte Canavate" userId="a7bbf622-9e81-474e-9095-9598add3c9d2" providerId="ADAL" clId="{3125018F-0847-4360-889A-A6396523E99E}" dt="2022-07-12T13:19:43.577" v="3071" actId="20577"/>
          <ac:spMkLst>
            <pc:docMk/>
            <pc:sldMk cId="3971449542" sldId="306"/>
            <ac:spMk id="11" creationId="{B02C7238-5CF1-E76E-3463-15563936AFEA}"/>
          </ac:spMkLst>
        </pc:spChg>
        <pc:spChg chg="del">
          <ac:chgData name="Chloé Julie Charlotte Canavate" userId="a7bbf622-9e81-474e-9095-9598add3c9d2" providerId="ADAL" clId="{3125018F-0847-4360-889A-A6396523E99E}" dt="2022-07-12T13:19:18.578" v="3050" actId="478"/>
          <ac:spMkLst>
            <pc:docMk/>
            <pc:sldMk cId="3971449542" sldId="306"/>
            <ac:spMk id="13" creationId="{F53F6AE3-79B5-5F7F-4CF7-1C4883098654}"/>
          </ac:spMkLst>
        </pc:spChg>
        <pc:spChg chg="del">
          <ac:chgData name="Chloé Julie Charlotte Canavate" userId="a7bbf622-9e81-474e-9095-9598add3c9d2" providerId="ADAL" clId="{3125018F-0847-4360-889A-A6396523E99E}" dt="2022-07-12T13:19:18.578" v="3050" actId="478"/>
          <ac:spMkLst>
            <pc:docMk/>
            <pc:sldMk cId="3971449542" sldId="306"/>
            <ac:spMk id="14" creationId="{199E4E8B-1930-C013-85E5-0FC6DA5F3ADF}"/>
          </ac:spMkLst>
        </pc:spChg>
        <pc:spChg chg="del">
          <ac:chgData name="Chloé Julie Charlotte Canavate" userId="a7bbf622-9e81-474e-9095-9598add3c9d2" providerId="ADAL" clId="{3125018F-0847-4360-889A-A6396523E99E}" dt="2022-07-12T13:19:18.578" v="3050" actId="478"/>
          <ac:spMkLst>
            <pc:docMk/>
            <pc:sldMk cId="3971449542" sldId="306"/>
            <ac:spMk id="15" creationId="{4DF491FC-1F9D-9BAE-3F28-7C0265A1DF50}"/>
          </ac:spMkLst>
        </pc:spChg>
        <pc:spChg chg="mod">
          <ac:chgData name="Chloé Julie Charlotte Canavate" userId="a7bbf622-9e81-474e-9095-9598add3c9d2" providerId="ADAL" clId="{3125018F-0847-4360-889A-A6396523E99E}" dt="2022-07-12T13:29:11.441" v="3529" actId="1076"/>
          <ac:spMkLst>
            <pc:docMk/>
            <pc:sldMk cId="3971449542" sldId="306"/>
            <ac:spMk id="17" creationId="{A0EC6B4F-5CB5-3A72-D950-8128C742C73F}"/>
          </ac:spMkLst>
        </pc:spChg>
        <pc:spChg chg="mod">
          <ac:chgData name="Chloé Julie Charlotte Canavate" userId="a7bbf622-9e81-474e-9095-9598add3c9d2" providerId="ADAL" clId="{3125018F-0847-4360-889A-A6396523E99E}" dt="2022-07-12T13:29:11.441" v="3529" actId="1076"/>
          <ac:spMkLst>
            <pc:docMk/>
            <pc:sldMk cId="3971449542" sldId="306"/>
            <ac:spMk id="18" creationId="{4F837E47-8DBC-25A7-505E-389FF51C1440}"/>
          </ac:spMkLst>
        </pc:spChg>
        <pc:spChg chg="mod">
          <ac:chgData name="Chloé Julie Charlotte Canavate" userId="a7bbf622-9e81-474e-9095-9598add3c9d2" providerId="ADAL" clId="{3125018F-0847-4360-889A-A6396523E99E}" dt="2022-07-12T13:29:11.441" v="3529" actId="1076"/>
          <ac:spMkLst>
            <pc:docMk/>
            <pc:sldMk cId="3971449542" sldId="306"/>
            <ac:spMk id="19" creationId="{B29989EA-4BED-D93E-2B4C-5CE2EE867578}"/>
          </ac:spMkLst>
        </pc:spChg>
        <pc:spChg chg="mod">
          <ac:chgData name="Chloé Julie Charlotte Canavate" userId="a7bbf622-9e81-474e-9095-9598add3c9d2" providerId="ADAL" clId="{3125018F-0847-4360-889A-A6396523E99E}" dt="2022-07-12T13:29:11.441" v="3529" actId="1076"/>
          <ac:spMkLst>
            <pc:docMk/>
            <pc:sldMk cId="3971449542" sldId="306"/>
            <ac:spMk id="21" creationId="{F4332DBB-4B17-B62A-96A4-643D9D10F9EE}"/>
          </ac:spMkLst>
        </pc:spChg>
        <pc:spChg chg="mod">
          <ac:chgData name="Chloé Julie Charlotte Canavate" userId="a7bbf622-9e81-474e-9095-9598add3c9d2" providerId="ADAL" clId="{3125018F-0847-4360-889A-A6396523E99E}" dt="2022-07-12T13:29:11.441" v="3529" actId="1076"/>
          <ac:spMkLst>
            <pc:docMk/>
            <pc:sldMk cId="3971449542" sldId="306"/>
            <ac:spMk id="22" creationId="{8D51CA09-7890-96F2-BF27-17373740C75D}"/>
          </ac:spMkLst>
        </pc:spChg>
        <pc:spChg chg="mod">
          <ac:chgData name="Chloé Julie Charlotte Canavate" userId="a7bbf622-9e81-474e-9095-9598add3c9d2" providerId="ADAL" clId="{3125018F-0847-4360-889A-A6396523E99E}" dt="2022-07-12T13:29:11.441" v="3529" actId="1076"/>
          <ac:spMkLst>
            <pc:docMk/>
            <pc:sldMk cId="3971449542" sldId="306"/>
            <ac:spMk id="23" creationId="{97934BAB-417E-6CBA-6DE1-0D1FDEED1A27}"/>
          </ac:spMkLst>
        </pc:spChg>
        <pc:spChg chg="mod">
          <ac:chgData name="Chloé Julie Charlotte Canavate" userId="a7bbf622-9e81-474e-9095-9598add3c9d2" providerId="ADAL" clId="{3125018F-0847-4360-889A-A6396523E99E}" dt="2022-07-12T13:29:11.441" v="3529" actId="1076"/>
          <ac:spMkLst>
            <pc:docMk/>
            <pc:sldMk cId="3971449542" sldId="306"/>
            <ac:spMk id="25" creationId="{55A0E0F9-831B-CC5C-CBB0-7561899144E9}"/>
          </ac:spMkLst>
        </pc:spChg>
        <pc:spChg chg="mod">
          <ac:chgData name="Chloé Julie Charlotte Canavate" userId="a7bbf622-9e81-474e-9095-9598add3c9d2" providerId="ADAL" clId="{3125018F-0847-4360-889A-A6396523E99E}" dt="2022-07-12T13:29:11.441" v="3529" actId="1076"/>
          <ac:spMkLst>
            <pc:docMk/>
            <pc:sldMk cId="3971449542" sldId="306"/>
            <ac:spMk id="26" creationId="{523C0552-9843-6F12-B463-32D0373284F5}"/>
          </ac:spMkLst>
        </pc:spChg>
        <pc:spChg chg="mod">
          <ac:chgData name="Chloé Julie Charlotte Canavate" userId="a7bbf622-9e81-474e-9095-9598add3c9d2" providerId="ADAL" clId="{3125018F-0847-4360-889A-A6396523E99E}" dt="2022-07-12T13:29:11.441" v="3529" actId="1076"/>
          <ac:spMkLst>
            <pc:docMk/>
            <pc:sldMk cId="3971449542" sldId="306"/>
            <ac:spMk id="27" creationId="{5A6A6F32-EC27-F96E-F444-BEEF34EFDAD4}"/>
          </ac:spMkLst>
        </pc:spChg>
        <pc:spChg chg="add mod">
          <ac:chgData name="Chloé Julie Charlotte Canavate" userId="a7bbf622-9e81-474e-9095-9598add3c9d2" providerId="ADAL" clId="{3125018F-0847-4360-889A-A6396523E99E}" dt="2022-07-12T13:29:11.441" v="3529" actId="1076"/>
          <ac:spMkLst>
            <pc:docMk/>
            <pc:sldMk cId="3971449542" sldId="306"/>
            <ac:spMk id="28" creationId="{AD5041D3-9196-9BE9-087D-A0A6B06BA0A7}"/>
          </ac:spMkLst>
        </pc:spChg>
        <pc:spChg chg="add mod">
          <ac:chgData name="Chloé Julie Charlotte Canavate" userId="a7bbf622-9e81-474e-9095-9598add3c9d2" providerId="ADAL" clId="{3125018F-0847-4360-889A-A6396523E99E}" dt="2022-07-12T13:29:11.441" v="3529" actId="1076"/>
          <ac:spMkLst>
            <pc:docMk/>
            <pc:sldMk cId="3971449542" sldId="306"/>
            <ac:spMk id="29" creationId="{EAFBB9FA-2B42-96B3-3AA5-283B8FC6B95D}"/>
          </ac:spMkLst>
        </pc:spChg>
        <pc:spChg chg="add mod">
          <ac:chgData name="Chloé Julie Charlotte Canavate" userId="a7bbf622-9e81-474e-9095-9598add3c9d2" providerId="ADAL" clId="{3125018F-0847-4360-889A-A6396523E99E}" dt="2022-07-12T13:29:11.441" v="3529" actId="1076"/>
          <ac:spMkLst>
            <pc:docMk/>
            <pc:sldMk cId="3971449542" sldId="306"/>
            <ac:spMk id="30" creationId="{784D241A-2AD0-D509-34DB-E6576DDFAA0E}"/>
          </ac:spMkLst>
        </pc:spChg>
        <pc:spChg chg="add mod">
          <ac:chgData name="Chloé Julie Charlotte Canavate" userId="a7bbf622-9e81-474e-9095-9598add3c9d2" providerId="ADAL" clId="{3125018F-0847-4360-889A-A6396523E99E}" dt="2022-07-12T13:47:55.323" v="3671" actId="255"/>
          <ac:spMkLst>
            <pc:docMk/>
            <pc:sldMk cId="3971449542" sldId="306"/>
            <ac:spMk id="32" creationId="{5AC84EDE-A2C7-BD64-C5EB-98314171A73F}"/>
          </ac:spMkLst>
        </pc:spChg>
        <pc:spChg chg="add mod">
          <ac:chgData name="Chloé Julie Charlotte Canavate" userId="a7bbf622-9e81-474e-9095-9598add3c9d2" providerId="ADAL" clId="{3125018F-0847-4360-889A-A6396523E99E}" dt="2022-07-12T13:29:11.441" v="3529" actId="1076"/>
          <ac:spMkLst>
            <pc:docMk/>
            <pc:sldMk cId="3971449542" sldId="306"/>
            <ac:spMk id="34" creationId="{F5912E06-9FE6-5C5D-3619-86BA7FCDC04C}"/>
          </ac:spMkLst>
        </pc:spChg>
        <pc:spChg chg="add mod">
          <ac:chgData name="Chloé Julie Charlotte Canavate" userId="a7bbf622-9e81-474e-9095-9598add3c9d2" providerId="ADAL" clId="{3125018F-0847-4360-889A-A6396523E99E}" dt="2022-07-12T13:29:11.441" v="3529" actId="1076"/>
          <ac:spMkLst>
            <pc:docMk/>
            <pc:sldMk cId="3971449542" sldId="306"/>
            <ac:spMk id="36" creationId="{932E0FB8-141F-8400-F540-49A922291DD2}"/>
          </ac:spMkLst>
        </pc:spChg>
        <pc:spChg chg="add del mod">
          <ac:chgData name="Chloé Julie Charlotte Canavate" userId="a7bbf622-9e81-474e-9095-9598add3c9d2" providerId="ADAL" clId="{3125018F-0847-4360-889A-A6396523E99E}" dt="2022-07-12T13:19:49.457" v="3072" actId="478"/>
          <ac:spMkLst>
            <pc:docMk/>
            <pc:sldMk cId="3971449542" sldId="306"/>
            <ac:spMk id="37" creationId="{A8E56E8C-17BA-6203-C737-32F120FAA689}"/>
          </ac:spMkLst>
        </pc:spChg>
        <pc:spChg chg="add del mod">
          <ac:chgData name="Chloé Julie Charlotte Canavate" userId="a7bbf622-9e81-474e-9095-9598add3c9d2" providerId="ADAL" clId="{3125018F-0847-4360-889A-A6396523E99E}" dt="2022-07-12T13:19:49.457" v="3072" actId="478"/>
          <ac:spMkLst>
            <pc:docMk/>
            <pc:sldMk cId="3971449542" sldId="306"/>
            <ac:spMk id="38" creationId="{2B1AAD71-981C-49F8-4FA4-9DAA9BDA0687}"/>
          </ac:spMkLst>
        </pc:spChg>
        <pc:spChg chg="add del mod">
          <ac:chgData name="Chloé Julie Charlotte Canavate" userId="a7bbf622-9e81-474e-9095-9598add3c9d2" providerId="ADAL" clId="{3125018F-0847-4360-889A-A6396523E99E}" dt="2022-07-12T13:19:49.457" v="3072" actId="478"/>
          <ac:spMkLst>
            <pc:docMk/>
            <pc:sldMk cId="3971449542" sldId="306"/>
            <ac:spMk id="39" creationId="{F280A1C9-1DC5-7EE3-12A1-809607F8E490}"/>
          </ac:spMkLst>
        </pc:spChg>
        <pc:spChg chg="add mod">
          <ac:chgData name="Chloé Julie Charlotte Canavate" userId="a7bbf622-9e81-474e-9095-9598add3c9d2" providerId="ADAL" clId="{3125018F-0847-4360-889A-A6396523E99E}" dt="2022-07-12T13:32:44.685" v="3568" actId="1076"/>
          <ac:spMkLst>
            <pc:docMk/>
            <pc:sldMk cId="3971449542" sldId="306"/>
            <ac:spMk id="43" creationId="{F9DB7D62-2DEE-44C3-EDDD-1D8D7E627E5C}"/>
          </ac:spMkLst>
        </pc:spChg>
        <pc:spChg chg="add mod">
          <ac:chgData name="Chloé Julie Charlotte Canavate" userId="a7bbf622-9e81-474e-9095-9598add3c9d2" providerId="ADAL" clId="{3125018F-0847-4360-889A-A6396523E99E}" dt="2022-07-12T13:33:06.689" v="3572" actId="1035"/>
          <ac:spMkLst>
            <pc:docMk/>
            <pc:sldMk cId="3971449542" sldId="306"/>
            <ac:spMk id="44" creationId="{54C5F149-CBCC-F83A-3467-C4BE311F4C07}"/>
          </ac:spMkLst>
        </pc:spChg>
        <pc:grpChg chg="add mod">
          <ac:chgData name="Chloé Julie Charlotte Canavate" userId="a7bbf622-9e81-474e-9095-9598add3c9d2" providerId="ADAL" clId="{3125018F-0847-4360-889A-A6396523E99E}" dt="2022-07-12T13:29:11.441" v="3529" actId="1076"/>
          <ac:grpSpMkLst>
            <pc:docMk/>
            <pc:sldMk cId="3971449542" sldId="306"/>
            <ac:grpSpMk id="16" creationId="{4EFF2059-660C-503B-566C-FB72F956D581}"/>
          </ac:grpSpMkLst>
        </pc:grpChg>
        <pc:grpChg chg="add mod">
          <ac:chgData name="Chloé Julie Charlotte Canavate" userId="a7bbf622-9e81-474e-9095-9598add3c9d2" providerId="ADAL" clId="{3125018F-0847-4360-889A-A6396523E99E}" dt="2022-07-12T13:29:11.441" v="3529" actId="1076"/>
          <ac:grpSpMkLst>
            <pc:docMk/>
            <pc:sldMk cId="3971449542" sldId="306"/>
            <ac:grpSpMk id="20" creationId="{F068E6D6-D2BA-9F4C-7564-D00859A211DD}"/>
          </ac:grpSpMkLst>
        </pc:grpChg>
        <pc:grpChg chg="add mod">
          <ac:chgData name="Chloé Julie Charlotte Canavate" userId="a7bbf622-9e81-474e-9095-9598add3c9d2" providerId="ADAL" clId="{3125018F-0847-4360-889A-A6396523E99E}" dt="2022-07-12T13:29:11.441" v="3529" actId="1076"/>
          <ac:grpSpMkLst>
            <pc:docMk/>
            <pc:sldMk cId="3971449542" sldId="306"/>
            <ac:grpSpMk id="24" creationId="{34E83C44-8127-465E-B1DE-DE8A3722EDEC}"/>
          </ac:grpSpMkLst>
        </pc:grpChg>
        <pc:picChg chg="del">
          <ac:chgData name="Chloé Julie Charlotte Canavate" userId="a7bbf622-9e81-474e-9095-9598add3c9d2" providerId="ADAL" clId="{3125018F-0847-4360-889A-A6396523E99E}" dt="2022-07-12T13:19:18.578" v="3050" actId="478"/>
          <ac:picMkLst>
            <pc:docMk/>
            <pc:sldMk cId="3971449542" sldId="306"/>
            <ac:picMk id="5" creationId="{7C0E96CF-E869-503E-3AD9-2CAA20B2985D}"/>
          </ac:picMkLst>
        </pc:picChg>
        <pc:picChg chg="del">
          <ac:chgData name="Chloé Julie Charlotte Canavate" userId="a7bbf622-9e81-474e-9095-9598add3c9d2" providerId="ADAL" clId="{3125018F-0847-4360-889A-A6396523E99E}" dt="2022-07-12T13:19:18.578" v="3050" actId="478"/>
          <ac:picMkLst>
            <pc:docMk/>
            <pc:sldMk cId="3971449542" sldId="306"/>
            <ac:picMk id="9" creationId="{846967B7-83C9-7A75-BED7-77F5CE3AC841}"/>
          </ac:picMkLst>
        </pc:picChg>
        <pc:picChg chg="del">
          <ac:chgData name="Chloé Julie Charlotte Canavate" userId="a7bbf622-9e81-474e-9095-9598add3c9d2" providerId="ADAL" clId="{3125018F-0847-4360-889A-A6396523E99E}" dt="2022-07-12T13:19:18.578" v="3050" actId="478"/>
          <ac:picMkLst>
            <pc:docMk/>
            <pc:sldMk cId="3971449542" sldId="306"/>
            <ac:picMk id="12" creationId="{15CC479E-4A48-1A53-49FA-5773356DC7CB}"/>
          </ac:picMkLst>
        </pc:picChg>
        <pc:picChg chg="add del mod">
          <ac:chgData name="Chloé Julie Charlotte Canavate" userId="a7bbf622-9e81-474e-9095-9598add3c9d2" providerId="ADAL" clId="{3125018F-0847-4360-889A-A6396523E99E}" dt="2022-07-12T13:21:23.662" v="3170" actId="478"/>
          <ac:picMkLst>
            <pc:docMk/>
            <pc:sldMk cId="3971449542" sldId="306"/>
            <ac:picMk id="31" creationId="{C7D9693A-749B-CE2D-70EF-28421858D186}"/>
          </ac:picMkLst>
        </pc:picChg>
        <pc:picChg chg="add del mod">
          <ac:chgData name="Chloé Julie Charlotte Canavate" userId="a7bbf622-9e81-474e-9095-9598add3c9d2" providerId="ADAL" clId="{3125018F-0847-4360-889A-A6396523E99E}" dt="2022-07-12T13:22:50.245" v="3208" actId="478"/>
          <ac:picMkLst>
            <pc:docMk/>
            <pc:sldMk cId="3971449542" sldId="306"/>
            <ac:picMk id="33" creationId="{E76291F8-1B43-6AE1-8BF4-735D1FA4539A}"/>
          </ac:picMkLst>
        </pc:picChg>
        <pc:picChg chg="add del mod">
          <ac:chgData name="Chloé Julie Charlotte Canavate" userId="a7bbf622-9e81-474e-9095-9598add3c9d2" providerId="ADAL" clId="{3125018F-0847-4360-889A-A6396523E99E}" dt="2022-07-12T13:25:21.479" v="3379" actId="478"/>
          <ac:picMkLst>
            <pc:docMk/>
            <pc:sldMk cId="3971449542" sldId="306"/>
            <ac:picMk id="35" creationId="{227EBB98-DC97-0923-5BBB-1E4FAAAB0FCF}"/>
          </ac:picMkLst>
        </pc:picChg>
        <pc:picChg chg="add del mod">
          <ac:chgData name="Chloé Julie Charlotte Canavate" userId="a7bbf622-9e81-474e-9095-9598add3c9d2" providerId="ADAL" clId="{3125018F-0847-4360-889A-A6396523E99E}" dt="2022-07-12T13:19:49.457" v="3072" actId="478"/>
          <ac:picMkLst>
            <pc:docMk/>
            <pc:sldMk cId="3971449542" sldId="306"/>
            <ac:picMk id="40" creationId="{625519B8-D07A-01FC-8159-5D2084C89D1E}"/>
          </ac:picMkLst>
        </pc:picChg>
        <pc:picChg chg="add del mod">
          <ac:chgData name="Chloé Julie Charlotte Canavate" userId="a7bbf622-9e81-474e-9095-9598add3c9d2" providerId="ADAL" clId="{3125018F-0847-4360-889A-A6396523E99E}" dt="2022-07-12T13:19:49.457" v="3072" actId="478"/>
          <ac:picMkLst>
            <pc:docMk/>
            <pc:sldMk cId="3971449542" sldId="306"/>
            <ac:picMk id="41" creationId="{7D7EFDAB-406D-679B-B408-DAA79594198E}"/>
          </ac:picMkLst>
        </pc:picChg>
        <pc:picChg chg="add del mod">
          <ac:chgData name="Chloé Julie Charlotte Canavate" userId="a7bbf622-9e81-474e-9095-9598add3c9d2" providerId="ADAL" clId="{3125018F-0847-4360-889A-A6396523E99E}" dt="2022-07-12T13:19:49.457" v="3072" actId="478"/>
          <ac:picMkLst>
            <pc:docMk/>
            <pc:sldMk cId="3971449542" sldId="306"/>
            <ac:picMk id="42" creationId="{D06CD1E6-CF67-C207-1B1C-50B53521080B}"/>
          </ac:picMkLst>
        </pc:picChg>
        <pc:picChg chg="add mod">
          <ac:chgData name="Chloé Julie Charlotte Canavate" userId="a7bbf622-9e81-474e-9095-9598add3c9d2" providerId="ADAL" clId="{3125018F-0847-4360-889A-A6396523E99E}" dt="2022-07-12T13:29:11.441" v="3529" actId="1076"/>
          <ac:picMkLst>
            <pc:docMk/>
            <pc:sldMk cId="3971449542" sldId="306"/>
            <ac:picMk id="4098" creationId="{1D96A17E-D988-A992-01D5-8C68DFA2C9F8}"/>
          </ac:picMkLst>
        </pc:picChg>
        <pc:picChg chg="add mod">
          <ac:chgData name="Chloé Julie Charlotte Canavate" userId="a7bbf622-9e81-474e-9095-9598add3c9d2" providerId="ADAL" clId="{3125018F-0847-4360-889A-A6396523E99E}" dt="2022-07-12T13:29:11.441" v="3529" actId="1076"/>
          <ac:picMkLst>
            <pc:docMk/>
            <pc:sldMk cId="3971449542" sldId="306"/>
            <ac:picMk id="4100" creationId="{98ECB2AC-64C1-E49A-5646-DF04AA9116A1}"/>
          </ac:picMkLst>
        </pc:picChg>
        <pc:picChg chg="add mod">
          <ac:chgData name="Chloé Julie Charlotte Canavate" userId="a7bbf622-9e81-474e-9095-9598add3c9d2" providerId="ADAL" clId="{3125018F-0847-4360-889A-A6396523E99E}" dt="2022-07-12T13:29:11.441" v="3529" actId="1076"/>
          <ac:picMkLst>
            <pc:docMk/>
            <pc:sldMk cId="3971449542" sldId="306"/>
            <ac:picMk id="4102" creationId="{AD838058-EF82-7FEC-3043-FF2DF3205CDC}"/>
          </ac:picMkLst>
        </pc:picChg>
      </pc:sldChg>
      <pc:sldChg chg="addSp delSp modSp add mod addCm">
        <pc:chgData name="Chloé Julie Charlotte Canavate" userId="a7bbf622-9e81-474e-9095-9598add3c9d2" providerId="ADAL" clId="{3125018F-0847-4360-889A-A6396523E99E}" dt="2022-07-12T13:55:23.247" v="3898" actId="255"/>
        <pc:sldMkLst>
          <pc:docMk/>
          <pc:sldMk cId="1919105368" sldId="307"/>
        </pc:sldMkLst>
        <pc:spChg chg="mod">
          <ac:chgData name="Chloé Julie Charlotte Canavate" userId="a7bbf622-9e81-474e-9095-9598add3c9d2" providerId="ADAL" clId="{3125018F-0847-4360-889A-A6396523E99E}" dt="2022-07-12T13:42:40.287" v="3596" actId="20577"/>
          <ac:spMkLst>
            <pc:docMk/>
            <pc:sldMk cId="1919105368" sldId="307"/>
            <ac:spMk id="8" creationId="{D5C95C34-817F-6ADC-5238-59A468DE9209}"/>
          </ac:spMkLst>
        </pc:spChg>
        <pc:spChg chg="del mod topLvl">
          <ac:chgData name="Chloé Julie Charlotte Canavate" userId="a7bbf622-9e81-474e-9095-9598add3c9d2" providerId="ADAL" clId="{3125018F-0847-4360-889A-A6396523E99E}" dt="2022-07-12T13:43:26.071" v="3604" actId="478"/>
          <ac:spMkLst>
            <pc:docMk/>
            <pc:sldMk cId="1919105368" sldId="307"/>
            <ac:spMk id="10" creationId="{A9AA5218-D3D1-3602-EB3C-2CDF2779E1EC}"/>
          </ac:spMkLst>
        </pc:spChg>
        <pc:spChg chg="mod">
          <ac:chgData name="Chloé Julie Charlotte Canavate" userId="a7bbf622-9e81-474e-9095-9598add3c9d2" providerId="ADAL" clId="{3125018F-0847-4360-889A-A6396523E99E}" dt="2022-07-12T13:43:20.338" v="3602" actId="14100"/>
          <ac:spMkLst>
            <pc:docMk/>
            <pc:sldMk cId="1919105368" sldId="307"/>
            <ac:spMk id="13" creationId="{5D2B6395-9C8F-00DB-750B-651F4CFD2A14}"/>
          </ac:spMkLst>
        </pc:spChg>
        <pc:spChg chg="mod">
          <ac:chgData name="Chloé Julie Charlotte Canavate" userId="a7bbf622-9e81-474e-9095-9598add3c9d2" providerId="ADAL" clId="{3125018F-0847-4360-889A-A6396523E99E}" dt="2022-07-12T13:43:15.933" v="3601" actId="14100"/>
          <ac:spMkLst>
            <pc:docMk/>
            <pc:sldMk cId="1919105368" sldId="307"/>
            <ac:spMk id="14" creationId="{02CBACF7-A5A0-AB3B-6E93-18ED162F5C31}"/>
          </ac:spMkLst>
        </pc:spChg>
        <pc:spChg chg="mod">
          <ac:chgData name="Chloé Julie Charlotte Canavate" userId="a7bbf622-9e81-474e-9095-9598add3c9d2" providerId="ADAL" clId="{3125018F-0847-4360-889A-A6396523E99E}" dt="2022-07-12T13:43:48.716" v="3608" actId="1076"/>
          <ac:spMkLst>
            <pc:docMk/>
            <pc:sldMk cId="1919105368" sldId="307"/>
            <ac:spMk id="16" creationId="{50DCB150-5B9A-80AD-03DB-6FB2D4CDB867}"/>
          </ac:spMkLst>
        </pc:spChg>
        <pc:spChg chg="del">
          <ac:chgData name="Chloé Julie Charlotte Canavate" userId="a7bbf622-9e81-474e-9095-9598add3c9d2" providerId="ADAL" clId="{3125018F-0847-4360-889A-A6396523E99E}" dt="2022-07-12T13:43:06.340" v="3597" actId="478"/>
          <ac:spMkLst>
            <pc:docMk/>
            <pc:sldMk cId="1919105368" sldId="307"/>
            <ac:spMk id="17" creationId="{25EBE807-13CC-BFA6-BB7E-636608122565}"/>
          </ac:spMkLst>
        </pc:spChg>
        <pc:spChg chg="mod">
          <ac:chgData name="Chloé Julie Charlotte Canavate" userId="a7bbf622-9e81-474e-9095-9598add3c9d2" providerId="ADAL" clId="{3125018F-0847-4360-889A-A6396523E99E}" dt="2022-07-12T13:43:33.543" v="3606"/>
          <ac:spMkLst>
            <pc:docMk/>
            <pc:sldMk cId="1919105368" sldId="307"/>
            <ac:spMk id="18" creationId="{16BFB896-1407-4646-6C9C-29D5E69FF7B7}"/>
          </ac:spMkLst>
        </pc:spChg>
        <pc:spChg chg="mod">
          <ac:chgData name="Chloé Julie Charlotte Canavate" userId="a7bbf622-9e81-474e-9095-9598add3c9d2" providerId="ADAL" clId="{3125018F-0847-4360-889A-A6396523E99E}" dt="2022-07-12T13:43:52.309" v="3609"/>
          <ac:spMkLst>
            <pc:docMk/>
            <pc:sldMk cId="1919105368" sldId="307"/>
            <ac:spMk id="20" creationId="{52DB8EFB-BFEB-1630-5B5B-D8F53942BBAD}"/>
          </ac:spMkLst>
        </pc:spChg>
        <pc:spChg chg="mod">
          <ac:chgData name="Chloé Julie Charlotte Canavate" userId="a7bbf622-9e81-474e-9095-9598add3c9d2" providerId="ADAL" clId="{3125018F-0847-4360-889A-A6396523E99E}" dt="2022-07-12T13:43:52.309" v="3609"/>
          <ac:spMkLst>
            <pc:docMk/>
            <pc:sldMk cId="1919105368" sldId="307"/>
            <ac:spMk id="21" creationId="{E2309EEE-0BCB-1BEC-92EB-A09C19EB5458}"/>
          </ac:spMkLst>
        </pc:spChg>
        <pc:spChg chg="mod">
          <ac:chgData name="Chloé Julie Charlotte Canavate" userId="a7bbf622-9e81-474e-9095-9598add3c9d2" providerId="ADAL" clId="{3125018F-0847-4360-889A-A6396523E99E}" dt="2022-07-12T13:44:06.547" v="3611"/>
          <ac:spMkLst>
            <pc:docMk/>
            <pc:sldMk cId="1919105368" sldId="307"/>
            <ac:spMk id="23" creationId="{9203EFAA-120A-5AF7-2F76-B56EA382F175}"/>
          </ac:spMkLst>
        </pc:spChg>
        <pc:spChg chg="mod">
          <ac:chgData name="Chloé Julie Charlotte Canavate" userId="a7bbf622-9e81-474e-9095-9598add3c9d2" providerId="ADAL" clId="{3125018F-0847-4360-889A-A6396523E99E}" dt="2022-07-12T13:44:06.547" v="3611"/>
          <ac:spMkLst>
            <pc:docMk/>
            <pc:sldMk cId="1919105368" sldId="307"/>
            <ac:spMk id="24" creationId="{61192D0F-4F2C-A23F-5B03-C94B297C83D9}"/>
          </ac:spMkLst>
        </pc:spChg>
        <pc:spChg chg="add mod">
          <ac:chgData name="Chloé Julie Charlotte Canavate" userId="a7bbf622-9e81-474e-9095-9598add3c9d2" providerId="ADAL" clId="{3125018F-0847-4360-889A-A6396523E99E}" dt="2022-07-12T13:55:23.247" v="3898" actId="255"/>
          <ac:spMkLst>
            <pc:docMk/>
            <pc:sldMk cId="1919105368" sldId="307"/>
            <ac:spMk id="25" creationId="{69D96C75-BF63-B6B3-B66B-D9793B689002}"/>
          </ac:spMkLst>
        </pc:spChg>
        <pc:spChg chg="add mod">
          <ac:chgData name="Chloé Julie Charlotte Canavate" userId="a7bbf622-9e81-474e-9095-9598add3c9d2" providerId="ADAL" clId="{3125018F-0847-4360-889A-A6396523E99E}" dt="2022-07-12T13:51:30.737" v="3780" actId="113"/>
          <ac:spMkLst>
            <pc:docMk/>
            <pc:sldMk cId="1919105368" sldId="307"/>
            <ac:spMk id="26" creationId="{921ED534-E68C-A621-C921-2AEE032B8126}"/>
          </ac:spMkLst>
        </pc:spChg>
        <pc:spChg chg="add mod">
          <ac:chgData name="Chloé Julie Charlotte Canavate" userId="a7bbf622-9e81-474e-9095-9598add3c9d2" providerId="ADAL" clId="{3125018F-0847-4360-889A-A6396523E99E}" dt="2022-07-12T13:52:44.021" v="3838" actId="1035"/>
          <ac:spMkLst>
            <pc:docMk/>
            <pc:sldMk cId="1919105368" sldId="307"/>
            <ac:spMk id="28" creationId="{B078864C-4C78-BB49-AA2E-A25B809D9271}"/>
          </ac:spMkLst>
        </pc:spChg>
        <pc:spChg chg="add del mod">
          <ac:chgData name="Chloé Julie Charlotte Canavate" userId="a7bbf622-9e81-474e-9095-9598add3c9d2" providerId="ADAL" clId="{3125018F-0847-4360-889A-A6396523E99E}" dt="2022-07-12T13:54:09.782" v="3860"/>
          <ac:spMkLst>
            <pc:docMk/>
            <pc:sldMk cId="1919105368" sldId="307"/>
            <ac:spMk id="31" creationId="{9253F1D5-0F9C-72AD-C047-AD00A1403C55}"/>
          </ac:spMkLst>
        </pc:spChg>
        <pc:grpChg chg="add del mod">
          <ac:chgData name="Chloé Julie Charlotte Canavate" userId="a7bbf622-9e81-474e-9095-9598add3c9d2" providerId="ADAL" clId="{3125018F-0847-4360-889A-A6396523E99E}" dt="2022-07-12T13:43:26.071" v="3604" actId="478"/>
          <ac:grpSpMkLst>
            <pc:docMk/>
            <pc:sldMk cId="1919105368" sldId="307"/>
            <ac:grpSpMk id="7" creationId="{5F3EEF9F-51CD-AC18-86E4-76D29D6B0AC9}"/>
          </ac:grpSpMkLst>
        </pc:grpChg>
        <pc:grpChg chg="del mod">
          <ac:chgData name="Chloé Julie Charlotte Canavate" userId="a7bbf622-9e81-474e-9095-9598add3c9d2" providerId="ADAL" clId="{3125018F-0847-4360-889A-A6396523E99E}" dt="2022-07-12T13:43:21.976" v="3603" actId="478"/>
          <ac:grpSpMkLst>
            <pc:docMk/>
            <pc:sldMk cId="1919105368" sldId="307"/>
            <ac:grpSpMk id="9" creationId="{782B1328-AFFB-F095-97F1-47DEEFF1D7BE}"/>
          </ac:grpSpMkLst>
        </pc:grpChg>
        <pc:grpChg chg="mod topLvl">
          <ac:chgData name="Chloé Julie Charlotte Canavate" userId="a7bbf622-9e81-474e-9095-9598add3c9d2" providerId="ADAL" clId="{3125018F-0847-4360-889A-A6396523E99E}" dt="2022-07-12T13:44:40.074" v="3618" actId="1076"/>
          <ac:grpSpMkLst>
            <pc:docMk/>
            <pc:sldMk cId="1919105368" sldId="307"/>
            <ac:grpSpMk id="11" creationId="{49AF99FC-CDEE-0419-C75C-5A4476334A9C}"/>
          </ac:grpSpMkLst>
        </pc:grpChg>
        <pc:grpChg chg="add mod">
          <ac:chgData name="Chloé Julie Charlotte Canavate" userId="a7bbf622-9e81-474e-9095-9598add3c9d2" providerId="ADAL" clId="{3125018F-0847-4360-889A-A6396523E99E}" dt="2022-07-12T13:44:40.074" v="3618" actId="1076"/>
          <ac:grpSpMkLst>
            <pc:docMk/>
            <pc:sldMk cId="1919105368" sldId="307"/>
            <ac:grpSpMk id="15" creationId="{C6528EDE-4862-3509-90ED-3AAC19D7981E}"/>
          </ac:grpSpMkLst>
        </pc:grpChg>
        <pc:grpChg chg="add mod">
          <ac:chgData name="Chloé Julie Charlotte Canavate" userId="a7bbf622-9e81-474e-9095-9598add3c9d2" providerId="ADAL" clId="{3125018F-0847-4360-889A-A6396523E99E}" dt="2022-07-12T13:44:40.074" v="3618" actId="1076"/>
          <ac:grpSpMkLst>
            <pc:docMk/>
            <pc:sldMk cId="1919105368" sldId="307"/>
            <ac:grpSpMk id="19" creationId="{850FAB1F-AFF4-D6C2-6FCD-DFEF5D5FD749}"/>
          </ac:grpSpMkLst>
        </pc:grpChg>
        <pc:grpChg chg="add mod">
          <ac:chgData name="Chloé Julie Charlotte Canavate" userId="a7bbf622-9e81-474e-9095-9598add3c9d2" providerId="ADAL" clId="{3125018F-0847-4360-889A-A6396523E99E}" dt="2022-07-12T13:44:40.074" v="3618" actId="1076"/>
          <ac:grpSpMkLst>
            <pc:docMk/>
            <pc:sldMk cId="1919105368" sldId="307"/>
            <ac:grpSpMk id="22" creationId="{2CBBE151-03C1-BBFC-DDBC-0E232DF6DD40}"/>
          </ac:grpSpMkLst>
        </pc:grpChg>
        <pc:picChg chg="add mod">
          <ac:chgData name="Chloé Julie Charlotte Canavate" userId="a7bbf622-9e81-474e-9095-9598add3c9d2" providerId="ADAL" clId="{3125018F-0847-4360-889A-A6396523E99E}" dt="2022-07-12T13:46:16.489" v="3630" actId="1038"/>
          <ac:picMkLst>
            <pc:docMk/>
            <pc:sldMk cId="1919105368" sldId="307"/>
            <ac:picMk id="3" creationId="{A6F11EA8-8985-0F08-3610-931242EF4152}"/>
          </ac:picMkLst>
        </pc:picChg>
        <pc:picChg chg="del mod">
          <ac:chgData name="Chloé Julie Charlotte Canavate" userId="a7bbf622-9e81-474e-9095-9598add3c9d2" providerId="ADAL" clId="{3125018F-0847-4360-889A-A6396523E99E}" dt="2022-07-12T13:43:21.976" v="3603" actId="478"/>
          <ac:picMkLst>
            <pc:docMk/>
            <pc:sldMk cId="1919105368" sldId="307"/>
            <ac:picMk id="12" creationId="{778DF1EF-0BAB-50D7-014D-84C3DE0A6D11}"/>
          </ac:picMkLst>
        </pc:picChg>
        <pc:picChg chg="add mod">
          <ac:chgData name="Chloé Julie Charlotte Canavate" userId="a7bbf622-9e81-474e-9095-9598add3c9d2" providerId="ADAL" clId="{3125018F-0847-4360-889A-A6396523E99E}" dt="2022-07-12T13:51:19.066" v="3778" actId="1038"/>
          <ac:picMkLst>
            <pc:docMk/>
            <pc:sldMk cId="1919105368" sldId="307"/>
            <ac:picMk id="27" creationId="{472009A5-CE0C-8616-49F9-36F91BA63FE4}"/>
          </ac:picMkLst>
        </pc:picChg>
        <pc:picChg chg="add mod">
          <ac:chgData name="Chloé Julie Charlotte Canavate" userId="a7bbf622-9e81-474e-9095-9598add3c9d2" providerId="ADAL" clId="{3125018F-0847-4360-889A-A6396523E99E}" dt="2022-07-12T13:53:40.889" v="3855" actId="1035"/>
          <ac:picMkLst>
            <pc:docMk/>
            <pc:sldMk cId="1919105368" sldId="307"/>
            <ac:picMk id="29" creationId="{6A0A8C5A-E130-2C59-3E49-3EB0EB78B67F}"/>
          </ac:picMkLst>
        </pc:picChg>
        <pc:picChg chg="add del mod">
          <ac:chgData name="Chloé Julie Charlotte Canavate" userId="a7bbf622-9e81-474e-9095-9598add3c9d2" providerId="ADAL" clId="{3125018F-0847-4360-889A-A6396523E99E}" dt="2022-07-12T13:45:25.296" v="3621" actId="478"/>
          <ac:picMkLst>
            <pc:docMk/>
            <pc:sldMk cId="1919105368" sldId="307"/>
            <ac:picMk id="7170" creationId="{F7B1C1E4-52F1-1FE0-F5BA-FFD2267BD145}"/>
          </ac:picMkLst>
        </pc:picChg>
      </pc:sldChg>
      <pc:sldChg chg="addSp delSp modSp add mod delAnim modAnim">
        <pc:chgData name="Chloé Julie Charlotte Canavate" userId="a7bbf622-9e81-474e-9095-9598add3c9d2" providerId="ADAL" clId="{3125018F-0847-4360-889A-A6396523E99E}" dt="2022-07-14T05:18:57.502" v="3937"/>
        <pc:sldMkLst>
          <pc:docMk/>
          <pc:sldMk cId="3594739738" sldId="308"/>
        </pc:sldMkLst>
        <pc:picChg chg="add mod modCrop">
          <ac:chgData name="Chloé Julie Charlotte Canavate" userId="a7bbf622-9e81-474e-9095-9598add3c9d2" providerId="ADAL" clId="{3125018F-0847-4360-889A-A6396523E99E}" dt="2022-07-13T09:35:05.560" v="3922" actId="1035"/>
          <ac:picMkLst>
            <pc:docMk/>
            <pc:sldMk cId="3594739738" sldId="308"/>
            <ac:picMk id="3" creationId="{5C2E174C-7F17-1E15-44B4-ED8F57882EA3}"/>
          </ac:picMkLst>
        </pc:picChg>
        <pc:picChg chg="del">
          <ac:chgData name="Chloé Julie Charlotte Canavate" userId="a7bbf622-9e81-474e-9095-9598add3c9d2" providerId="ADAL" clId="{3125018F-0847-4360-889A-A6396523E99E}" dt="2022-07-13T09:34:25.747" v="3914" actId="478"/>
          <ac:picMkLst>
            <pc:docMk/>
            <pc:sldMk cId="3594739738" sldId="308"/>
            <ac:picMk id="6" creationId="{3568EA80-EBCB-DBAC-B8A9-88D0954DEB48}"/>
          </ac:picMkLst>
        </pc:picChg>
      </pc:sldChg>
      <pc:sldMasterChg chg="addSp delSp modSp mod modSldLayout">
        <pc:chgData name="Chloé Julie Charlotte Canavate" userId="a7bbf622-9e81-474e-9095-9598add3c9d2" providerId="ADAL" clId="{3125018F-0847-4360-889A-A6396523E99E}" dt="2022-07-12T09:25:11.482" v="95" actId="1038"/>
        <pc:sldMasterMkLst>
          <pc:docMk/>
          <pc:sldMasterMk cId="1119611595" sldId="2147483648"/>
        </pc:sldMasterMkLst>
        <pc:spChg chg="add del mod">
          <ac:chgData name="Chloé Julie Charlotte Canavate" userId="a7bbf622-9e81-474e-9095-9598add3c9d2" providerId="ADAL" clId="{3125018F-0847-4360-889A-A6396523E99E}" dt="2022-07-12T09:20:53.506" v="64"/>
          <ac:spMkLst>
            <pc:docMk/>
            <pc:sldMasterMk cId="1119611595" sldId="2147483648"/>
            <ac:spMk id="4" creationId="{C0474BAB-C87C-03C4-A3D5-EAFBE30A20BC}"/>
          </ac:spMkLst>
        </pc:spChg>
        <pc:spChg chg="add del mod">
          <ac:chgData name="Chloé Julie Charlotte Canavate" userId="a7bbf622-9e81-474e-9095-9598add3c9d2" providerId="ADAL" clId="{3125018F-0847-4360-889A-A6396523E99E}" dt="2022-07-12T09:21:17.454" v="68"/>
          <ac:spMkLst>
            <pc:docMk/>
            <pc:sldMasterMk cId="1119611595" sldId="2147483648"/>
            <ac:spMk id="6" creationId="{4814A751-D6C1-9FAC-E2AC-8A14129EDAEF}"/>
          </ac:spMkLst>
        </pc:spChg>
        <pc:spChg chg="add del mod">
          <ac:chgData name="Chloé Julie Charlotte Canavate" userId="a7bbf622-9e81-474e-9095-9598add3c9d2" providerId="ADAL" clId="{3125018F-0847-4360-889A-A6396523E99E}" dt="2022-07-12T09:23:08.041" v="79" actId="478"/>
          <ac:spMkLst>
            <pc:docMk/>
            <pc:sldMasterMk cId="1119611595" sldId="2147483648"/>
            <ac:spMk id="7" creationId="{288C001C-792D-6021-CE38-1F8139BE9C8B}"/>
          </ac:spMkLst>
        </pc:spChg>
        <pc:sldLayoutChg chg="addSp modSp mod">
          <pc:chgData name="Chloé Julie Charlotte Canavate" userId="a7bbf622-9e81-474e-9095-9598add3c9d2" providerId="ADAL" clId="{3125018F-0847-4360-889A-A6396523E99E}" dt="2022-07-12T09:25:11.482" v="95" actId="1038"/>
          <pc:sldLayoutMkLst>
            <pc:docMk/>
            <pc:sldMasterMk cId="1119611595" sldId="2147483648"/>
            <pc:sldLayoutMk cId="1258886870" sldId="2147483650"/>
          </pc:sldLayoutMkLst>
          <pc:spChg chg="add mod">
            <ac:chgData name="Chloé Julie Charlotte Canavate" userId="a7bbf622-9e81-474e-9095-9598add3c9d2" providerId="ADAL" clId="{3125018F-0847-4360-889A-A6396523E99E}" dt="2022-07-12T09:25:11.482" v="95" actId="1038"/>
            <ac:spMkLst>
              <pc:docMk/>
              <pc:sldMasterMk cId="1119611595" sldId="2147483648"/>
              <pc:sldLayoutMk cId="1258886870" sldId="2147483650"/>
              <ac:spMk id="4" creationId="{634ECEE9-5FCB-0F6C-4CE5-F1B445AECF10}"/>
            </ac:spMkLst>
          </pc:spChg>
          <pc:spChg chg="mod">
            <ac:chgData name="Chloé Julie Charlotte Canavate" userId="a7bbf622-9e81-474e-9095-9598add3c9d2" providerId="ADAL" clId="{3125018F-0847-4360-889A-A6396523E99E}" dt="2022-07-12T09:18:47.747" v="58" actId="1076"/>
            <ac:spMkLst>
              <pc:docMk/>
              <pc:sldMasterMk cId="1119611595" sldId="2147483648"/>
              <pc:sldLayoutMk cId="1258886870" sldId="2147483650"/>
              <ac:spMk id="129" creationId="{00000000-0000-0000-0000-000000000000}"/>
            </ac:spMkLst>
          </pc:spChg>
          <pc:spChg chg="mod">
            <ac:chgData name="Chloé Julie Charlotte Canavate" userId="a7bbf622-9e81-474e-9095-9598add3c9d2" providerId="ADAL" clId="{3125018F-0847-4360-889A-A6396523E99E}" dt="2022-07-12T09:18:52.494" v="60" actId="1076"/>
            <ac:spMkLst>
              <pc:docMk/>
              <pc:sldMasterMk cId="1119611595" sldId="2147483648"/>
              <pc:sldLayoutMk cId="1258886870" sldId="2147483650"/>
              <ac:spMk id="253" creationId="{00000000-0000-0000-0000-000000000000}"/>
            </ac:spMkLst>
          </pc:spChg>
        </pc:sldLayoutChg>
      </pc:sldMasterChg>
    </pc:docChg>
  </pc:docChgLst>
  <pc:docChgLst>
    <pc:chgData name="Chloé Julie Charlotte Canavate" userId="a7bbf622-9e81-474e-9095-9598add3c9d2" providerId="ADAL" clId="{8A20C188-DA77-4DC2-B971-04E9A206E0B2}"/>
    <pc:docChg chg="undo custSel addSld modSld sldOrd modMainMaster">
      <pc:chgData name="Chloé Julie Charlotte Canavate" userId="a7bbf622-9e81-474e-9095-9598add3c9d2" providerId="ADAL" clId="{8A20C188-DA77-4DC2-B971-04E9A206E0B2}" dt="2022-06-01T11:47:50.366" v="2454" actId="22"/>
      <pc:docMkLst>
        <pc:docMk/>
      </pc:docMkLst>
      <pc:sldChg chg="modSp mod">
        <pc:chgData name="Chloé Julie Charlotte Canavate" userId="a7bbf622-9e81-474e-9095-9598add3c9d2" providerId="ADAL" clId="{8A20C188-DA77-4DC2-B971-04E9A206E0B2}" dt="2022-05-29T14:10:17.789" v="0" actId="20577"/>
        <pc:sldMkLst>
          <pc:docMk/>
          <pc:sldMk cId="223892638" sldId="257"/>
        </pc:sldMkLst>
        <pc:spChg chg="mod">
          <ac:chgData name="Chloé Julie Charlotte Canavate" userId="a7bbf622-9e81-474e-9095-9598add3c9d2" providerId="ADAL" clId="{8A20C188-DA77-4DC2-B971-04E9A206E0B2}" dt="2022-05-29T14:10:17.789" v="0" actId="20577"/>
          <ac:spMkLst>
            <pc:docMk/>
            <pc:sldMk cId="223892638" sldId="257"/>
            <ac:spMk id="3" creationId="{E80F0972-A09C-4A26-BF72-12D2B527078A}"/>
          </ac:spMkLst>
        </pc:spChg>
      </pc:sldChg>
      <pc:sldChg chg="modSp mod">
        <pc:chgData name="Chloé Julie Charlotte Canavate" userId="a7bbf622-9e81-474e-9095-9598add3c9d2" providerId="ADAL" clId="{8A20C188-DA77-4DC2-B971-04E9A206E0B2}" dt="2022-05-29T14:46:06.492" v="1010" actId="1076"/>
        <pc:sldMkLst>
          <pc:docMk/>
          <pc:sldMk cId="3383649683" sldId="258"/>
        </pc:sldMkLst>
        <pc:spChg chg="mod">
          <ac:chgData name="Chloé Julie Charlotte Canavate" userId="a7bbf622-9e81-474e-9095-9598add3c9d2" providerId="ADAL" clId="{8A20C188-DA77-4DC2-B971-04E9A206E0B2}" dt="2022-05-29T14:46:06.492" v="1010" actId="1076"/>
          <ac:spMkLst>
            <pc:docMk/>
            <pc:sldMk cId="3383649683" sldId="258"/>
            <ac:spMk id="28" creationId="{742ADC04-85B2-49D3-9586-C7FE12680E72}"/>
          </ac:spMkLst>
        </pc:spChg>
      </pc:sldChg>
      <pc:sldChg chg="modSp mod">
        <pc:chgData name="Chloé Julie Charlotte Canavate" userId="a7bbf622-9e81-474e-9095-9598add3c9d2" providerId="ADAL" clId="{8A20C188-DA77-4DC2-B971-04E9A206E0B2}" dt="2022-05-29T15:49:16.862" v="2433" actId="20577"/>
        <pc:sldMkLst>
          <pc:docMk/>
          <pc:sldMk cId="1386269732" sldId="259"/>
        </pc:sldMkLst>
        <pc:spChg chg="mod">
          <ac:chgData name="Chloé Julie Charlotte Canavate" userId="a7bbf622-9e81-474e-9095-9598add3c9d2" providerId="ADAL" clId="{8A20C188-DA77-4DC2-B971-04E9A206E0B2}" dt="2022-05-29T15:49:16.862" v="2433" actId="20577"/>
          <ac:spMkLst>
            <pc:docMk/>
            <pc:sldMk cId="1386269732" sldId="259"/>
            <ac:spMk id="4" creationId="{32E8DF3F-D925-42CD-B051-416D48B5DF10}"/>
          </ac:spMkLst>
        </pc:spChg>
      </pc:sldChg>
      <pc:sldChg chg="addSp modSp mod">
        <pc:chgData name="Chloé Julie Charlotte Canavate" userId="a7bbf622-9e81-474e-9095-9598add3c9d2" providerId="ADAL" clId="{8A20C188-DA77-4DC2-B971-04E9A206E0B2}" dt="2022-06-01T11:47:50.366" v="2454" actId="22"/>
        <pc:sldMkLst>
          <pc:docMk/>
          <pc:sldMk cId="3922913386" sldId="262"/>
        </pc:sldMkLst>
        <pc:spChg chg="mod">
          <ac:chgData name="Chloé Julie Charlotte Canavate" userId="a7bbf622-9e81-474e-9095-9598add3c9d2" providerId="ADAL" clId="{8A20C188-DA77-4DC2-B971-04E9A206E0B2}" dt="2022-05-29T15:49:46.937" v="2446" actId="20577"/>
          <ac:spMkLst>
            <pc:docMk/>
            <pc:sldMk cId="3922913386" sldId="262"/>
            <ac:spMk id="4" creationId="{32E8DF3F-D925-42CD-B051-416D48B5DF10}"/>
          </ac:spMkLst>
        </pc:spChg>
        <pc:picChg chg="add">
          <ac:chgData name="Chloé Julie Charlotte Canavate" userId="a7bbf622-9e81-474e-9095-9598add3c9d2" providerId="ADAL" clId="{8A20C188-DA77-4DC2-B971-04E9A206E0B2}" dt="2022-06-01T11:46:06.859" v="2452" actId="22"/>
          <ac:picMkLst>
            <pc:docMk/>
            <pc:sldMk cId="3922913386" sldId="262"/>
            <ac:picMk id="7" creationId="{2BCA9189-98B3-975E-7B8D-849ABCA1CAAE}"/>
          </ac:picMkLst>
        </pc:picChg>
        <pc:picChg chg="add">
          <ac:chgData name="Chloé Julie Charlotte Canavate" userId="a7bbf622-9e81-474e-9095-9598add3c9d2" providerId="ADAL" clId="{8A20C188-DA77-4DC2-B971-04E9A206E0B2}" dt="2022-06-01T11:46:28.784" v="2453" actId="22"/>
          <ac:picMkLst>
            <pc:docMk/>
            <pc:sldMk cId="3922913386" sldId="262"/>
            <ac:picMk id="9" creationId="{2BD98B9E-59E3-239A-1267-B5A0732A62B9}"/>
          </ac:picMkLst>
        </pc:picChg>
        <pc:picChg chg="add">
          <ac:chgData name="Chloé Julie Charlotte Canavate" userId="a7bbf622-9e81-474e-9095-9598add3c9d2" providerId="ADAL" clId="{8A20C188-DA77-4DC2-B971-04E9A206E0B2}" dt="2022-06-01T11:47:50.366" v="2454" actId="22"/>
          <ac:picMkLst>
            <pc:docMk/>
            <pc:sldMk cId="3922913386" sldId="262"/>
            <ac:picMk id="11" creationId="{923F020C-41CB-F1CC-5370-D2106986A430}"/>
          </ac:picMkLst>
        </pc:picChg>
      </pc:sldChg>
      <pc:sldChg chg="addSp modSp mod">
        <pc:chgData name="Chloé Julie Charlotte Canavate" userId="a7bbf622-9e81-474e-9095-9598add3c9d2" providerId="ADAL" clId="{8A20C188-DA77-4DC2-B971-04E9A206E0B2}" dt="2022-05-29T15:49:40.790" v="2443" actId="20577"/>
        <pc:sldMkLst>
          <pc:docMk/>
          <pc:sldMk cId="3791195039" sldId="263"/>
        </pc:sldMkLst>
        <pc:spChg chg="mod">
          <ac:chgData name="Chloé Julie Charlotte Canavate" userId="a7bbf622-9e81-474e-9095-9598add3c9d2" providerId="ADAL" clId="{8A20C188-DA77-4DC2-B971-04E9A206E0B2}" dt="2022-05-29T14:33:31.206" v="374" actId="20577"/>
          <ac:spMkLst>
            <pc:docMk/>
            <pc:sldMk cId="3791195039" sldId="263"/>
            <ac:spMk id="2" creationId="{C6785AE7-8B00-486C-9A8C-F571C93177E4}"/>
          </ac:spMkLst>
        </pc:spChg>
        <pc:spChg chg="mod">
          <ac:chgData name="Chloé Julie Charlotte Canavate" userId="a7bbf622-9e81-474e-9095-9598add3c9d2" providerId="ADAL" clId="{8A20C188-DA77-4DC2-B971-04E9A206E0B2}" dt="2022-05-29T15:49:40.790" v="2443" actId="20577"/>
          <ac:spMkLst>
            <pc:docMk/>
            <pc:sldMk cId="3791195039" sldId="263"/>
            <ac:spMk id="4" creationId="{32E8DF3F-D925-42CD-B051-416D48B5DF10}"/>
          </ac:spMkLst>
        </pc:spChg>
        <pc:spChg chg="add mod">
          <ac:chgData name="Chloé Julie Charlotte Canavate" userId="a7bbf622-9e81-474e-9095-9598add3c9d2" providerId="ADAL" clId="{8A20C188-DA77-4DC2-B971-04E9A206E0B2}" dt="2022-05-29T14:18:29.411" v="44" actId="1076"/>
          <ac:spMkLst>
            <pc:docMk/>
            <pc:sldMk cId="3791195039" sldId="263"/>
            <ac:spMk id="6" creationId="{9AF89EE5-5EE0-794D-3F59-78AB800D9819}"/>
          </ac:spMkLst>
        </pc:spChg>
        <pc:spChg chg="add mod">
          <ac:chgData name="Chloé Julie Charlotte Canavate" userId="a7bbf622-9e81-474e-9095-9598add3c9d2" providerId="ADAL" clId="{8A20C188-DA77-4DC2-B971-04E9A206E0B2}" dt="2022-05-29T14:30:04.440" v="199" actId="1076"/>
          <ac:spMkLst>
            <pc:docMk/>
            <pc:sldMk cId="3791195039" sldId="263"/>
            <ac:spMk id="7" creationId="{BD5BA9BD-1AA5-14C2-287A-2F62AB19A304}"/>
          </ac:spMkLst>
        </pc:spChg>
        <pc:spChg chg="add mod">
          <ac:chgData name="Chloé Julie Charlotte Canavate" userId="a7bbf622-9e81-474e-9095-9598add3c9d2" providerId="ADAL" clId="{8A20C188-DA77-4DC2-B971-04E9A206E0B2}" dt="2022-05-29T14:35:54.571" v="418" actId="1076"/>
          <ac:spMkLst>
            <pc:docMk/>
            <pc:sldMk cId="3791195039" sldId="263"/>
            <ac:spMk id="10" creationId="{A2239E12-25B5-CC41-E0DA-DA08ADB9E41B}"/>
          </ac:spMkLst>
        </pc:spChg>
        <pc:spChg chg="add mod">
          <ac:chgData name="Chloé Julie Charlotte Canavate" userId="a7bbf622-9e81-474e-9095-9598add3c9d2" providerId="ADAL" clId="{8A20C188-DA77-4DC2-B971-04E9A206E0B2}" dt="2022-05-29T14:35:54.571" v="418" actId="1076"/>
          <ac:spMkLst>
            <pc:docMk/>
            <pc:sldMk cId="3791195039" sldId="263"/>
            <ac:spMk id="11" creationId="{D5CDDDA5-4E7A-6402-FA41-8A20266C7BC7}"/>
          </ac:spMkLst>
        </pc:spChg>
        <pc:spChg chg="add mod">
          <ac:chgData name="Chloé Julie Charlotte Canavate" userId="a7bbf622-9e81-474e-9095-9598add3c9d2" providerId="ADAL" clId="{8A20C188-DA77-4DC2-B971-04E9A206E0B2}" dt="2022-05-29T14:35:54.571" v="418" actId="1076"/>
          <ac:spMkLst>
            <pc:docMk/>
            <pc:sldMk cId="3791195039" sldId="263"/>
            <ac:spMk id="13" creationId="{33BB5177-76CD-9BF0-13CE-432E32C1194C}"/>
          </ac:spMkLst>
        </pc:spChg>
        <pc:spChg chg="add mod">
          <ac:chgData name="Chloé Julie Charlotte Canavate" userId="a7bbf622-9e81-474e-9095-9598add3c9d2" providerId="ADAL" clId="{8A20C188-DA77-4DC2-B971-04E9A206E0B2}" dt="2022-05-29T14:36:06.373" v="420" actId="1076"/>
          <ac:spMkLst>
            <pc:docMk/>
            <pc:sldMk cId="3791195039" sldId="263"/>
            <ac:spMk id="22" creationId="{1DBBCA97-9E89-0AC3-33DA-BC3B163D776A}"/>
          </ac:spMkLst>
        </pc:spChg>
        <pc:picChg chg="add mod">
          <ac:chgData name="Chloé Julie Charlotte Canavate" userId="a7bbf622-9e81-474e-9095-9598add3c9d2" providerId="ADAL" clId="{8A20C188-DA77-4DC2-B971-04E9A206E0B2}" dt="2022-05-29T14:35:54.571" v="418" actId="1076"/>
          <ac:picMkLst>
            <pc:docMk/>
            <pc:sldMk cId="3791195039" sldId="263"/>
            <ac:picMk id="8" creationId="{83637314-455A-9172-6EA2-651B4C06D636}"/>
          </ac:picMkLst>
        </pc:picChg>
        <pc:picChg chg="add mod">
          <ac:chgData name="Chloé Julie Charlotte Canavate" userId="a7bbf622-9e81-474e-9095-9598add3c9d2" providerId="ADAL" clId="{8A20C188-DA77-4DC2-B971-04E9A206E0B2}" dt="2022-05-29T14:35:54.571" v="418" actId="1076"/>
          <ac:picMkLst>
            <pc:docMk/>
            <pc:sldMk cId="3791195039" sldId="263"/>
            <ac:picMk id="9" creationId="{7146934A-608B-5B21-8186-32BDD866477B}"/>
          </ac:picMkLst>
        </pc:picChg>
        <pc:picChg chg="add mod">
          <ac:chgData name="Chloé Julie Charlotte Canavate" userId="a7bbf622-9e81-474e-9095-9598add3c9d2" providerId="ADAL" clId="{8A20C188-DA77-4DC2-B971-04E9A206E0B2}" dt="2022-05-29T14:36:08.729" v="421" actId="1076"/>
          <ac:picMkLst>
            <pc:docMk/>
            <pc:sldMk cId="3791195039" sldId="263"/>
            <ac:picMk id="19" creationId="{D71CACB9-88FE-9518-CE9D-C2431E6507C3}"/>
          </ac:picMkLst>
        </pc:picChg>
        <pc:picChg chg="add mod">
          <ac:chgData name="Chloé Julie Charlotte Canavate" userId="a7bbf622-9e81-474e-9095-9598add3c9d2" providerId="ADAL" clId="{8A20C188-DA77-4DC2-B971-04E9A206E0B2}" dt="2022-05-29T14:36:19.559" v="424" actId="1076"/>
          <ac:picMkLst>
            <pc:docMk/>
            <pc:sldMk cId="3791195039" sldId="263"/>
            <ac:picMk id="1026" creationId="{699774F4-B00A-5604-19DB-E29B5748F816}"/>
          </ac:picMkLst>
        </pc:picChg>
        <pc:cxnChg chg="add mod">
          <ac:chgData name="Chloé Julie Charlotte Canavate" userId="a7bbf622-9e81-474e-9095-9598add3c9d2" providerId="ADAL" clId="{8A20C188-DA77-4DC2-B971-04E9A206E0B2}" dt="2022-05-29T14:35:54.571" v="418" actId="1076"/>
          <ac:cxnSpMkLst>
            <pc:docMk/>
            <pc:sldMk cId="3791195039" sldId="263"/>
            <ac:cxnSpMk id="12" creationId="{837EE84E-3BB9-EB78-C0ED-F99D4B0CC303}"/>
          </ac:cxnSpMkLst>
        </pc:cxnChg>
        <pc:cxnChg chg="add mod">
          <ac:chgData name="Chloé Julie Charlotte Canavate" userId="a7bbf622-9e81-474e-9095-9598add3c9d2" providerId="ADAL" clId="{8A20C188-DA77-4DC2-B971-04E9A206E0B2}" dt="2022-05-29T14:35:54.571" v="418" actId="1076"/>
          <ac:cxnSpMkLst>
            <pc:docMk/>
            <pc:sldMk cId="3791195039" sldId="263"/>
            <ac:cxnSpMk id="14" creationId="{2CFB1072-B24C-BA2B-53F4-F9C9599C474E}"/>
          </ac:cxnSpMkLst>
        </pc:cxnChg>
        <pc:cxnChg chg="add mod">
          <ac:chgData name="Chloé Julie Charlotte Canavate" userId="a7bbf622-9e81-474e-9095-9598add3c9d2" providerId="ADAL" clId="{8A20C188-DA77-4DC2-B971-04E9A206E0B2}" dt="2022-05-29T14:35:54.571" v="418" actId="1076"/>
          <ac:cxnSpMkLst>
            <pc:docMk/>
            <pc:sldMk cId="3791195039" sldId="263"/>
            <ac:cxnSpMk id="15" creationId="{CCF1D31B-0205-EDFB-CF11-EBE3684B45B5}"/>
          </ac:cxnSpMkLst>
        </pc:cxnChg>
        <pc:cxnChg chg="add mod">
          <ac:chgData name="Chloé Julie Charlotte Canavate" userId="a7bbf622-9e81-474e-9095-9598add3c9d2" providerId="ADAL" clId="{8A20C188-DA77-4DC2-B971-04E9A206E0B2}" dt="2022-05-29T14:35:54.571" v="418" actId="1076"/>
          <ac:cxnSpMkLst>
            <pc:docMk/>
            <pc:sldMk cId="3791195039" sldId="263"/>
            <ac:cxnSpMk id="16" creationId="{925CA058-A50B-B16C-2842-326440DF2529}"/>
          </ac:cxnSpMkLst>
        </pc:cxnChg>
        <pc:cxnChg chg="add mod">
          <ac:chgData name="Chloé Julie Charlotte Canavate" userId="a7bbf622-9e81-474e-9095-9598add3c9d2" providerId="ADAL" clId="{8A20C188-DA77-4DC2-B971-04E9A206E0B2}" dt="2022-05-29T14:36:13.483" v="422" actId="14100"/>
          <ac:cxnSpMkLst>
            <pc:docMk/>
            <pc:sldMk cId="3791195039" sldId="263"/>
            <ac:cxnSpMk id="20" creationId="{20FD3EAB-F68B-48C2-9A25-4F724A26BFDF}"/>
          </ac:cxnSpMkLst>
        </pc:cxnChg>
      </pc:sldChg>
      <pc:sldChg chg="addSp delSp modSp mod">
        <pc:chgData name="Chloé Julie Charlotte Canavate" userId="a7bbf622-9e81-474e-9095-9598add3c9d2" providerId="ADAL" clId="{8A20C188-DA77-4DC2-B971-04E9A206E0B2}" dt="2022-05-29T15:49:51.599" v="2449" actId="20577"/>
        <pc:sldMkLst>
          <pc:docMk/>
          <pc:sldMk cId="1320313918" sldId="265"/>
        </pc:sldMkLst>
        <pc:spChg chg="mod">
          <ac:chgData name="Chloé Julie Charlotte Canavate" userId="a7bbf622-9e81-474e-9095-9598add3c9d2" providerId="ADAL" clId="{8A20C188-DA77-4DC2-B971-04E9A206E0B2}" dt="2022-05-29T15:27:46.039" v="1897" actId="20577"/>
          <ac:spMkLst>
            <pc:docMk/>
            <pc:sldMk cId="1320313918" sldId="265"/>
            <ac:spMk id="2" creationId="{C6785AE7-8B00-486C-9A8C-F571C93177E4}"/>
          </ac:spMkLst>
        </pc:spChg>
        <pc:spChg chg="add del">
          <ac:chgData name="Chloé Julie Charlotte Canavate" userId="a7bbf622-9e81-474e-9095-9598add3c9d2" providerId="ADAL" clId="{8A20C188-DA77-4DC2-B971-04E9A206E0B2}" dt="2022-05-29T14:57:47.365" v="1394"/>
          <ac:spMkLst>
            <pc:docMk/>
            <pc:sldMk cId="1320313918" sldId="265"/>
            <ac:spMk id="3" creationId="{816F13B0-9AF4-77BA-8195-DDFF1673640B}"/>
          </ac:spMkLst>
        </pc:spChg>
        <pc:spChg chg="mod">
          <ac:chgData name="Chloé Julie Charlotte Canavate" userId="a7bbf622-9e81-474e-9095-9598add3c9d2" providerId="ADAL" clId="{8A20C188-DA77-4DC2-B971-04E9A206E0B2}" dt="2022-05-29T15:49:51.599" v="2449" actId="20577"/>
          <ac:spMkLst>
            <pc:docMk/>
            <pc:sldMk cId="1320313918" sldId="265"/>
            <ac:spMk id="4" creationId="{32E8DF3F-D925-42CD-B051-416D48B5DF10}"/>
          </ac:spMkLst>
        </pc:spChg>
        <pc:spChg chg="mod">
          <ac:chgData name="Chloé Julie Charlotte Canavate" userId="a7bbf622-9e81-474e-9095-9598add3c9d2" providerId="ADAL" clId="{8A20C188-DA77-4DC2-B971-04E9A206E0B2}" dt="2022-05-29T15:01:30.485" v="1577" actId="1076"/>
          <ac:spMkLst>
            <pc:docMk/>
            <pc:sldMk cId="1320313918" sldId="265"/>
            <ac:spMk id="11" creationId="{BA1B6992-312C-F7E4-EF1C-17B48236AABA}"/>
          </ac:spMkLst>
        </pc:spChg>
        <pc:picChg chg="add mod">
          <ac:chgData name="Chloé Julie Charlotte Canavate" userId="a7bbf622-9e81-474e-9095-9598add3c9d2" providerId="ADAL" clId="{8A20C188-DA77-4DC2-B971-04E9A206E0B2}" dt="2022-05-29T15:01:33.118" v="1578" actId="1076"/>
          <ac:picMkLst>
            <pc:docMk/>
            <pc:sldMk cId="1320313918" sldId="265"/>
            <ac:picMk id="7" creationId="{9C4D0B2D-CE43-6508-9F80-A804F6991A04}"/>
          </ac:picMkLst>
        </pc:picChg>
      </pc:sldChg>
      <pc:sldChg chg="modSp mod">
        <pc:chgData name="Chloé Julie Charlotte Canavate" userId="a7bbf622-9e81-474e-9095-9598add3c9d2" providerId="ADAL" clId="{8A20C188-DA77-4DC2-B971-04E9A206E0B2}" dt="2022-05-29T15:49:30.751" v="2439" actId="20577"/>
        <pc:sldMkLst>
          <pc:docMk/>
          <pc:sldMk cId="819387463" sldId="272"/>
        </pc:sldMkLst>
        <pc:spChg chg="mod">
          <ac:chgData name="Chloé Julie Charlotte Canavate" userId="a7bbf622-9e81-474e-9095-9598add3c9d2" providerId="ADAL" clId="{8A20C188-DA77-4DC2-B971-04E9A206E0B2}" dt="2022-05-29T15:49:30.751" v="2439" actId="20577"/>
          <ac:spMkLst>
            <pc:docMk/>
            <pc:sldMk cId="819387463" sldId="272"/>
            <ac:spMk id="50" creationId="{EE6862AA-9222-4933-821A-535525E24629}"/>
          </ac:spMkLst>
        </pc:spChg>
      </pc:sldChg>
      <pc:sldChg chg="modSp mod">
        <pc:chgData name="Chloé Julie Charlotte Canavate" userId="a7bbf622-9e81-474e-9095-9598add3c9d2" providerId="ADAL" clId="{8A20C188-DA77-4DC2-B971-04E9A206E0B2}" dt="2022-05-29T15:49:36.426" v="2441" actId="20577"/>
        <pc:sldMkLst>
          <pc:docMk/>
          <pc:sldMk cId="3608260996" sldId="275"/>
        </pc:sldMkLst>
        <pc:spChg chg="mod">
          <ac:chgData name="Chloé Julie Charlotte Canavate" userId="a7bbf622-9e81-474e-9095-9598add3c9d2" providerId="ADAL" clId="{8A20C188-DA77-4DC2-B971-04E9A206E0B2}" dt="2022-05-29T15:49:36.426" v="2441" actId="20577"/>
          <ac:spMkLst>
            <pc:docMk/>
            <pc:sldMk cId="3608260996" sldId="275"/>
            <ac:spMk id="4" creationId="{32E8DF3F-D925-42CD-B051-416D48B5DF10}"/>
          </ac:spMkLst>
        </pc:spChg>
      </pc:sldChg>
      <pc:sldChg chg="modSp add mod">
        <pc:chgData name="Chloé Julie Charlotte Canavate" userId="a7bbf622-9e81-474e-9095-9598add3c9d2" providerId="ADAL" clId="{8A20C188-DA77-4DC2-B971-04E9A206E0B2}" dt="2022-05-29T15:49:56.660" v="2451" actId="20577"/>
        <pc:sldMkLst>
          <pc:docMk/>
          <pc:sldMk cId="3279857982" sldId="282"/>
        </pc:sldMkLst>
        <pc:spChg chg="mod">
          <ac:chgData name="Chloé Julie Charlotte Canavate" userId="a7bbf622-9e81-474e-9095-9598add3c9d2" providerId="ADAL" clId="{8A20C188-DA77-4DC2-B971-04E9A206E0B2}" dt="2022-05-29T14:37:19.895" v="438" actId="20577"/>
          <ac:spMkLst>
            <pc:docMk/>
            <pc:sldMk cId="3279857982" sldId="282"/>
            <ac:spMk id="2" creationId="{C6785AE7-8B00-486C-9A8C-F571C93177E4}"/>
          </ac:spMkLst>
        </pc:spChg>
        <pc:spChg chg="mod">
          <ac:chgData name="Chloé Julie Charlotte Canavate" userId="a7bbf622-9e81-474e-9095-9598add3c9d2" providerId="ADAL" clId="{8A20C188-DA77-4DC2-B971-04E9A206E0B2}" dt="2022-05-29T15:49:56.660" v="2451" actId="20577"/>
          <ac:spMkLst>
            <pc:docMk/>
            <pc:sldMk cId="3279857982" sldId="282"/>
            <ac:spMk id="4" creationId="{32E8DF3F-D925-42CD-B051-416D48B5DF10}"/>
          </ac:spMkLst>
        </pc:spChg>
        <pc:spChg chg="mod">
          <ac:chgData name="Chloé Julie Charlotte Canavate" userId="a7bbf622-9e81-474e-9095-9598add3c9d2" providerId="ADAL" clId="{8A20C188-DA77-4DC2-B971-04E9A206E0B2}" dt="2022-05-29T14:43:28.262" v="1008" actId="20577"/>
          <ac:spMkLst>
            <pc:docMk/>
            <pc:sldMk cId="3279857982" sldId="282"/>
            <ac:spMk id="11" creationId="{BA1B6992-312C-F7E4-EF1C-17B48236AABA}"/>
          </ac:spMkLst>
        </pc:spChg>
      </pc:sldChg>
      <pc:sldChg chg="addSp delSp modSp add mod ord">
        <pc:chgData name="Chloé Julie Charlotte Canavate" userId="a7bbf622-9e81-474e-9095-9598add3c9d2" providerId="ADAL" clId="{8A20C188-DA77-4DC2-B971-04E9A206E0B2}" dt="2022-05-29T15:47:30.532" v="2431" actId="1035"/>
        <pc:sldMkLst>
          <pc:docMk/>
          <pc:sldMk cId="4066729470" sldId="283"/>
        </pc:sldMkLst>
        <pc:spChg chg="mod">
          <ac:chgData name="Chloé Julie Charlotte Canavate" userId="a7bbf622-9e81-474e-9095-9598add3c9d2" providerId="ADAL" clId="{8A20C188-DA77-4DC2-B971-04E9A206E0B2}" dt="2022-05-29T14:50:47.215" v="1046" actId="20577"/>
          <ac:spMkLst>
            <pc:docMk/>
            <pc:sldMk cId="4066729470" sldId="283"/>
            <ac:spMk id="2" creationId="{C6785AE7-8B00-486C-9A8C-F571C93177E4}"/>
          </ac:spMkLst>
        </pc:spChg>
        <pc:spChg chg="add del mod ord">
          <ac:chgData name="Chloé Julie Charlotte Canavate" userId="a7bbf622-9e81-474e-9095-9598add3c9d2" providerId="ADAL" clId="{8A20C188-DA77-4DC2-B971-04E9A206E0B2}" dt="2022-05-29T15:33:14.197" v="1922" actId="478"/>
          <ac:spMkLst>
            <pc:docMk/>
            <pc:sldMk cId="4066729470" sldId="283"/>
            <ac:spMk id="3" creationId="{9016BB80-C201-B686-406F-143F3D5BBA57}"/>
          </ac:spMkLst>
        </pc:spChg>
        <pc:spChg chg="mod">
          <ac:chgData name="Chloé Julie Charlotte Canavate" userId="a7bbf622-9e81-474e-9095-9598add3c9d2" providerId="ADAL" clId="{8A20C188-DA77-4DC2-B971-04E9A206E0B2}" dt="2022-05-29T14:50:19.091" v="1019" actId="20577"/>
          <ac:spMkLst>
            <pc:docMk/>
            <pc:sldMk cId="4066729470" sldId="283"/>
            <ac:spMk id="4" creationId="{32E8DF3F-D925-42CD-B051-416D48B5DF10}"/>
          </ac:spMkLst>
        </pc:spChg>
        <pc:spChg chg="add del mod">
          <ac:chgData name="Chloé Julie Charlotte Canavate" userId="a7bbf622-9e81-474e-9095-9598add3c9d2" providerId="ADAL" clId="{8A20C188-DA77-4DC2-B971-04E9A206E0B2}" dt="2022-05-29T15:30:28.262" v="1908" actId="478"/>
          <ac:spMkLst>
            <pc:docMk/>
            <pc:sldMk cId="4066729470" sldId="283"/>
            <ac:spMk id="6" creationId="{2AC27C08-45E2-F813-FB1B-4F4FF654F9A6}"/>
          </ac:spMkLst>
        </pc:spChg>
        <pc:spChg chg="add mod">
          <ac:chgData name="Chloé Julie Charlotte Canavate" userId="a7bbf622-9e81-474e-9095-9598add3c9d2" providerId="ADAL" clId="{8A20C188-DA77-4DC2-B971-04E9A206E0B2}" dt="2022-05-29T15:42:56.595" v="2249" actId="14100"/>
          <ac:spMkLst>
            <pc:docMk/>
            <pc:sldMk cId="4066729470" sldId="283"/>
            <ac:spMk id="7" creationId="{1A052AF4-2249-AA6B-339E-4D1E800B6C17}"/>
          </ac:spMkLst>
        </pc:spChg>
        <pc:spChg chg="add del mod">
          <ac:chgData name="Chloé Julie Charlotte Canavate" userId="a7bbf622-9e81-474e-9095-9598add3c9d2" providerId="ADAL" clId="{8A20C188-DA77-4DC2-B971-04E9A206E0B2}" dt="2022-05-29T15:30:41.950" v="1912" actId="478"/>
          <ac:spMkLst>
            <pc:docMk/>
            <pc:sldMk cId="4066729470" sldId="283"/>
            <ac:spMk id="8" creationId="{AA252559-B74C-1EDE-228F-BDDB1F5D0245}"/>
          </ac:spMkLst>
        </pc:spChg>
        <pc:spChg chg="add del mod ord">
          <ac:chgData name="Chloé Julie Charlotte Canavate" userId="a7bbf622-9e81-474e-9095-9598add3c9d2" providerId="ADAL" clId="{8A20C188-DA77-4DC2-B971-04E9A206E0B2}" dt="2022-05-29T15:33:14.197" v="1922" actId="478"/>
          <ac:spMkLst>
            <pc:docMk/>
            <pc:sldMk cId="4066729470" sldId="283"/>
            <ac:spMk id="9" creationId="{DCB1F2F3-449B-62CB-AE1E-5DB10E0EE99C}"/>
          </ac:spMkLst>
        </pc:spChg>
        <pc:spChg chg="add del mod">
          <ac:chgData name="Chloé Julie Charlotte Canavate" userId="a7bbf622-9e81-474e-9095-9598add3c9d2" providerId="ADAL" clId="{8A20C188-DA77-4DC2-B971-04E9A206E0B2}" dt="2022-05-29T15:33:14.197" v="1922" actId="478"/>
          <ac:spMkLst>
            <pc:docMk/>
            <pc:sldMk cId="4066729470" sldId="283"/>
            <ac:spMk id="10" creationId="{6B2E9747-F266-05B7-6CD8-2A839EB2AB8B}"/>
          </ac:spMkLst>
        </pc:spChg>
        <pc:spChg chg="add mod">
          <ac:chgData name="Chloé Julie Charlotte Canavate" userId="a7bbf622-9e81-474e-9095-9598add3c9d2" providerId="ADAL" clId="{8A20C188-DA77-4DC2-B971-04E9A206E0B2}" dt="2022-05-29T15:42:49.940" v="2248" actId="1076"/>
          <ac:spMkLst>
            <pc:docMk/>
            <pc:sldMk cId="4066729470" sldId="283"/>
            <ac:spMk id="11" creationId="{572A1C24-A59C-01EB-236A-E359A3709B61}"/>
          </ac:spMkLst>
        </pc:spChg>
        <pc:spChg chg="add mod">
          <ac:chgData name="Chloé Julie Charlotte Canavate" userId="a7bbf622-9e81-474e-9095-9598add3c9d2" providerId="ADAL" clId="{8A20C188-DA77-4DC2-B971-04E9A206E0B2}" dt="2022-05-29T15:43:07.884" v="2250" actId="1076"/>
          <ac:spMkLst>
            <pc:docMk/>
            <pc:sldMk cId="4066729470" sldId="283"/>
            <ac:spMk id="13" creationId="{79C66760-8A7A-5D16-838D-30CDD953C05D}"/>
          </ac:spMkLst>
        </pc:spChg>
        <pc:spChg chg="add mod">
          <ac:chgData name="Chloé Julie Charlotte Canavate" userId="a7bbf622-9e81-474e-9095-9598add3c9d2" providerId="ADAL" clId="{8A20C188-DA77-4DC2-B971-04E9A206E0B2}" dt="2022-05-29T15:42:49.940" v="2248" actId="1076"/>
          <ac:spMkLst>
            <pc:docMk/>
            <pc:sldMk cId="4066729470" sldId="283"/>
            <ac:spMk id="19" creationId="{1D1F006E-8870-BF28-070B-CCCE76BA3CF5}"/>
          </ac:spMkLst>
        </pc:spChg>
        <pc:spChg chg="add mod">
          <ac:chgData name="Chloé Julie Charlotte Canavate" userId="a7bbf622-9e81-474e-9095-9598add3c9d2" providerId="ADAL" clId="{8A20C188-DA77-4DC2-B971-04E9A206E0B2}" dt="2022-05-29T15:43:07.884" v="2250" actId="1076"/>
          <ac:spMkLst>
            <pc:docMk/>
            <pc:sldMk cId="4066729470" sldId="283"/>
            <ac:spMk id="20" creationId="{0305FA13-8D5F-1202-F3F8-2D0524CE6DA9}"/>
          </ac:spMkLst>
        </pc:spChg>
        <pc:spChg chg="add mod">
          <ac:chgData name="Chloé Julie Charlotte Canavate" userId="a7bbf622-9e81-474e-9095-9598add3c9d2" providerId="ADAL" clId="{8A20C188-DA77-4DC2-B971-04E9A206E0B2}" dt="2022-05-29T15:43:22.671" v="2251" actId="1076"/>
          <ac:spMkLst>
            <pc:docMk/>
            <pc:sldMk cId="4066729470" sldId="283"/>
            <ac:spMk id="21" creationId="{883237DD-4799-A998-6499-67C577031C08}"/>
          </ac:spMkLst>
        </pc:spChg>
        <pc:spChg chg="add mod">
          <ac:chgData name="Chloé Julie Charlotte Canavate" userId="a7bbf622-9e81-474e-9095-9598add3c9d2" providerId="ADAL" clId="{8A20C188-DA77-4DC2-B971-04E9A206E0B2}" dt="2022-05-29T15:43:22.671" v="2251" actId="1076"/>
          <ac:spMkLst>
            <pc:docMk/>
            <pc:sldMk cId="4066729470" sldId="283"/>
            <ac:spMk id="23" creationId="{88299878-D9BE-C334-3EC6-62D94444214A}"/>
          </ac:spMkLst>
        </pc:spChg>
        <pc:spChg chg="add mod">
          <ac:chgData name="Chloé Julie Charlotte Canavate" userId="a7bbf622-9e81-474e-9095-9598add3c9d2" providerId="ADAL" clId="{8A20C188-DA77-4DC2-B971-04E9A206E0B2}" dt="2022-05-29T15:43:22.671" v="2251" actId="1076"/>
          <ac:spMkLst>
            <pc:docMk/>
            <pc:sldMk cId="4066729470" sldId="283"/>
            <ac:spMk id="24" creationId="{70F8EC87-42AA-83EA-8850-BA7AEC6377E0}"/>
          </ac:spMkLst>
        </pc:spChg>
        <pc:spChg chg="add mod">
          <ac:chgData name="Chloé Julie Charlotte Canavate" userId="a7bbf622-9e81-474e-9095-9598add3c9d2" providerId="ADAL" clId="{8A20C188-DA77-4DC2-B971-04E9A206E0B2}" dt="2022-05-29T15:43:22.671" v="2251" actId="1076"/>
          <ac:spMkLst>
            <pc:docMk/>
            <pc:sldMk cId="4066729470" sldId="283"/>
            <ac:spMk id="26" creationId="{BD2918BB-EE1E-9246-F283-483A6B16F886}"/>
          </ac:spMkLst>
        </pc:spChg>
        <pc:spChg chg="add mod">
          <ac:chgData name="Chloé Julie Charlotte Canavate" userId="a7bbf622-9e81-474e-9095-9598add3c9d2" providerId="ADAL" clId="{8A20C188-DA77-4DC2-B971-04E9A206E0B2}" dt="2022-05-29T15:43:22.671" v="2251" actId="1076"/>
          <ac:spMkLst>
            <pc:docMk/>
            <pc:sldMk cId="4066729470" sldId="283"/>
            <ac:spMk id="27" creationId="{59E4EC72-373D-EE0A-AFE7-108ADD6F16B0}"/>
          </ac:spMkLst>
        </pc:spChg>
        <pc:spChg chg="add mod">
          <ac:chgData name="Chloé Julie Charlotte Canavate" userId="a7bbf622-9e81-474e-9095-9598add3c9d2" providerId="ADAL" clId="{8A20C188-DA77-4DC2-B971-04E9A206E0B2}" dt="2022-05-29T15:43:22.671" v="2251" actId="1076"/>
          <ac:spMkLst>
            <pc:docMk/>
            <pc:sldMk cId="4066729470" sldId="283"/>
            <ac:spMk id="29" creationId="{751362AF-9A53-EA02-77ED-1180B6D3CA2F}"/>
          </ac:spMkLst>
        </pc:spChg>
        <pc:spChg chg="add mod">
          <ac:chgData name="Chloé Julie Charlotte Canavate" userId="a7bbf622-9e81-474e-9095-9598add3c9d2" providerId="ADAL" clId="{8A20C188-DA77-4DC2-B971-04E9A206E0B2}" dt="2022-05-29T15:43:37.470" v="2252" actId="1076"/>
          <ac:spMkLst>
            <pc:docMk/>
            <pc:sldMk cId="4066729470" sldId="283"/>
            <ac:spMk id="30" creationId="{D6F17EF1-DC9D-3A73-9596-F6A0B6D1E891}"/>
          </ac:spMkLst>
        </pc:spChg>
        <pc:spChg chg="add mod">
          <ac:chgData name="Chloé Julie Charlotte Canavate" userId="a7bbf622-9e81-474e-9095-9598add3c9d2" providerId="ADAL" clId="{8A20C188-DA77-4DC2-B971-04E9A206E0B2}" dt="2022-05-29T15:43:37.470" v="2252" actId="1076"/>
          <ac:spMkLst>
            <pc:docMk/>
            <pc:sldMk cId="4066729470" sldId="283"/>
            <ac:spMk id="32" creationId="{01D2EAC2-CED3-69BC-0D8F-ABF85E9F9B29}"/>
          </ac:spMkLst>
        </pc:spChg>
        <pc:spChg chg="add mod">
          <ac:chgData name="Chloé Julie Charlotte Canavate" userId="a7bbf622-9e81-474e-9095-9598add3c9d2" providerId="ADAL" clId="{8A20C188-DA77-4DC2-B971-04E9A206E0B2}" dt="2022-05-29T15:44:07.480" v="2254" actId="1076"/>
          <ac:spMkLst>
            <pc:docMk/>
            <pc:sldMk cId="4066729470" sldId="283"/>
            <ac:spMk id="33" creationId="{F1991DD2-A58C-C4AE-818E-D42ED10D30A9}"/>
          </ac:spMkLst>
        </pc:spChg>
        <pc:spChg chg="add mod">
          <ac:chgData name="Chloé Julie Charlotte Canavate" userId="a7bbf622-9e81-474e-9095-9598add3c9d2" providerId="ADAL" clId="{8A20C188-DA77-4DC2-B971-04E9A206E0B2}" dt="2022-05-29T15:44:55.046" v="2310" actId="1076"/>
          <ac:spMkLst>
            <pc:docMk/>
            <pc:sldMk cId="4066729470" sldId="283"/>
            <ac:spMk id="35" creationId="{DDC02FD0-1627-290C-26A3-DD2261F70ACB}"/>
          </ac:spMkLst>
        </pc:spChg>
        <pc:spChg chg="add mod">
          <ac:chgData name="Chloé Julie Charlotte Canavate" userId="a7bbf622-9e81-474e-9095-9598add3c9d2" providerId="ADAL" clId="{8A20C188-DA77-4DC2-B971-04E9A206E0B2}" dt="2022-05-29T15:45:18.855" v="2312" actId="1076"/>
          <ac:spMkLst>
            <pc:docMk/>
            <pc:sldMk cId="4066729470" sldId="283"/>
            <ac:spMk id="36" creationId="{091BE735-6BFB-65F0-4CD8-83C4247D0567}"/>
          </ac:spMkLst>
        </pc:spChg>
        <pc:spChg chg="add mod">
          <ac:chgData name="Chloé Julie Charlotte Canavate" userId="a7bbf622-9e81-474e-9095-9598add3c9d2" providerId="ADAL" clId="{8A20C188-DA77-4DC2-B971-04E9A206E0B2}" dt="2022-05-29T15:46:47.371" v="2411" actId="20577"/>
          <ac:spMkLst>
            <pc:docMk/>
            <pc:sldMk cId="4066729470" sldId="283"/>
            <ac:spMk id="38" creationId="{5BE93A0E-106C-A1B6-5736-B5CDF7DEA526}"/>
          </ac:spMkLst>
        </pc:spChg>
        <pc:spChg chg="add mod">
          <ac:chgData name="Chloé Julie Charlotte Canavate" userId="a7bbf622-9e81-474e-9095-9598add3c9d2" providerId="ADAL" clId="{8A20C188-DA77-4DC2-B971-04E9A206E0B2}" dt="2022-05-29T15:45:18.855" v="2312" actId="1076"/>
          <ac:spMkLst>
            <pc:docMk/>
            <pc:sldMk cId="4066729470" sldId="283"/>
            <ac:spMk id="39" creationId="{DE610369-6CB3-8E28-06D0-ACC9FF84BDEE}"/>
          </ac:spMkLst>
        </pc:spChg>
        <pc:spChg chg="add mod">
          <ac:chgData name="Chloé Julie Charlotte Canavate" userId="a7bbf622-9e81-474e-9095-9598add3c9d2" providerId="ADAL" clId="{8A20C188-DA77-4DC2-B971-04E9A206E0B2}" dt="2022-05-29T15:46:13.573" v="2376" actId="1076"/>
          <ac:spMkLst>
            <pc:docMk/>
            <pc:sldMk cId="4066729470" sldId="283"/>
            <ac:spMk id="41" creationId="{D62029FD-9F86-CE19-A4CF-EBCF1583DBFE}"/>
          </ac:spMkLst>
        </pc:spChg>
        <pc:spChg chg="add mod">
          <ac:chgData name="Chloé Julie Charlotte Canavate" userId="a7bbf622-9e81-474e-9095-9598add3c9d2" providerId="ADAL" clId="{8A20C188-DA77-4DC2-B971-04E9A206E0B2}" dt="2022-05-29T15:47:30.532" v="2431" actId="1035"/>
          <ac:spMkLst>
            <pc:docMk/>
            <pc:sldMk cId="4066729470" sldId="283"/>
            <ac:spMk id="42" creationId="{D64C9576-797B-B53F-37ED-D555FC391050}"/>
          </ac:spMkLst>
        </pc:spChg>
        <pc:cxnChg chg="add mod">
          <ac:chgData name="Chloé Julie Charlotte Canavate" userId="a7bbf622-9e81-474e-9095-9598add3c9d2" providerId="ADAL" clId="{8A20C188-DA77-4DC2-B971-04E9A206E0B2}" dt="2022-05-29T15:42:49.940" v="2248" actId="1076"/>
          <ac:cxnSpMkLst>
            <pc:docMk/>
            <pc:sldMk cId="4066729470" sldId="283"/>
            <ac:cxnSpMk id="14" creationId="{B9EEABD6-46D6-953A-C67E-EB5608393662}"/>
          </ac:cxnSpMkLst>
        </pc:cxnChg>
        <pc:cxnChg chg="add mod">
          <ac:chgData name="Chloé Julie Charlotte Canavate" userId="a7bbf622-9e81-474e-9095-9598add3c9d2" providerId="ADAL" clId="{8A20C188-DA77-4DC2-B971-04E9A206E0B2}" dt="2022-05-29T15:43:07.884" v="2250" actId="1076"/>
          <ac:cxnSpMkLst>
            <pc:docMk/>
            <pc:sldMk cId="4066729470" sldId="283"/>
            <ac:cxnSpMk id="17" creationId="{480FA45B-A266-4C5F-1447-8A1B0EEFD244}"/>
          </ac:cxnSpMkLst>
        </pc:cxnChg>
        <pc:cxnChg chg="add mod">
          <ac:chgData name="Chloé Julie Charlotte Canavate" userId="a7bbf622-9e81-474e-9095-9598add3c9d2" providerId="ADAL" clId="{8A20C188-DA77-4DC2-B971-04E9A206E0B2}" dt="2022-05-29T15:43:22.671" v="2251" actId="1076"/>
          <ac:cxnSpMkLst>
            <pc:docMk/>
            <pc:sldMk cId="4066729470" sldId="283"/>
            <ac:cxnSpMk id="22" creationId="{572D79CB-5B75-053D-AD51-B0A2AC61B863}"/>
          </ac:cxnSpMkLst>
        </pc:cxnChg>
        <pc:cxnChg chg="add mod">
          <ac:chgData name="Chloé Julie Charlotte Canavate" userId="a7bbf622-9e81-474e-9095-9598add3c9d2" providerId="ADAL" clId="{8A20C188-DA77-4DC2-B971-04E9A206E0B2}" dt="2022-05-29T15:43:22.671" v="2251" actId="1076"/>
          <ac:cxnSpMkLst>
            <pc:docMk/>
            <pc:sldMk cId="4066729470" sldId="283"/>
            <ac:cxnSpMk id="25" creationId="{B5950456-176B-E5AF-3091-38868BA34116}"/>
          </ac:cxnSpMkLst>
        </pc:cxnChg>
        <pc:cxnChg chg="add mod">
          <ac:chgData name="Chloé Julie Charlotte Canavate" userId="a7bbf622-9e81-474e-9095-9598add3c9d2" providerId="ADAL" clId="{8A20C188-DA77-4DC2-B971-04E9A206E0B2}" dt="2022-05-29T15:43:22.671" v="2251" actId="1076"/>
          <ac:cxnSpMkLst>
            <pc:docMk/>
            <pc:sldMk cId="4066729470" sldId="283"/>
            <ac:cxnSpMk id="28" creationId="{2B1BAE52-181D-D791-DC65-353487DCD759}"/>
          </ac:cxnSpMkLst>
        </pc:cxnChg>
        <pc:cxnChg chg="add mod">
          <ac:chgData name="Chloé Julie Charlotte Canavate" userId="a7bbf622-9e81-474e-9095-9598add3c9d2" providerId="ADAL" clId="{8A20C188-DA77-4DC2-B971-04E9A206E0B2}" dt="2022-05-29T15:43:37.470" v="2252" actId="1076"/>
          <ac:cxnSpMkLst>
            <pc:docMk/>
            <pc:sldMk cId="4066729470" sldId="283"/>
            <ac:cxnSpMk id="31" creationId="{DFBE6163-FDA9-A985-EEA0-C79BD7E64C3A}"/>
          </ac:cxnSpMkLst>
        </pc:cxnChg>
        <pc:cxnChg chg="add mod">
          <ac:chgData name="Chloé Julie Charlotte Canavate" userId="a7bbf622-9e81-474e-9095-9598add3c9d2" providerId="ADAL" clId="{8A20C188-DA77-4DC2-B971-04E9A206E0B2}" dt="2022-05-29T15:44:07.480" v="2254" actId="1076"/>
          <ac:cxnSpMkLst>
            <pc:docMk/>
            <pc:sldMk cId="4066729470" sldId="283"/>
            <ac:cxnSpMk id="34" creationId="{E7BF8D70-B238-DC0E-D8FB-91CAA5962150}"/>
          </ac:cxnSpMkLst>
        </pc:cxnChg>
        <pc:cxnChg chg="add mod">
          <ac:chgData name="Chloé Julie Charlotte Canavate" userId="a7bbf622-9e81-474e-9095-9598add3c9d2" providerId="ADAL" clId="{8A20C188-DA77-4DC2-B971-04E9A206E0B2}" dt="2022-05-29T15:45:18.855" v="2312" actId="1076"/>
          <ac:cxnSpMkLst>
            <pc:docMk/>
            <pc:sldMk cId="4066729470" sldId="283"/>
            <ac:cxnSpMk id="37" creationId="{67A13C71-268A-2D0B-DA6B-C82B38817605}"/>
          </ac:cxnSpMkLst>
        </pc:cxnChg>
        <pc:cxnChg chg="add mod">
          <ac:chgData name="Chloé Julie Charlotte Canavate" userId="a7bbf622-9e81-474e-9095-9598add3c9d2" providerId="ADAL" clId="{8A20C188-DA77-4DC2-B971-04E9A206E0B2}" dt="2022-05-29T15:46:02.482" v="2374" actId="1076"/>
          <ac:cxnSpMkLst>
            <pc:docMk/>
            <pc:sldMk cId="4066729470" sldId="283"/>
            <ac:cxnSpMk id="40" creationId="{41F3DBFA-A594-B063-4B39-8C7666B4AE1B}"/>
          </ac:cxnSpMkLst>
        </pc:cxnChg>
      </pc:sldChg>
      <pc:sldChg chg="addSp delSp modSp add mod">
        <pc:chgData name="Chloé Julie Charlotte Canavate" userId="a7bbf622-9e81-474e-9095-9598add3c9d2" providerId="ADAL" clId="{8A20C188-DA77-4DC2-B971-04E9A206E0B2}" dt="2022-05-29T15:49:21.560" v="2435" actId="20577"/>
        <pc:sldMkLst>
          <pc:docMk/>
          <pc:sldMk cId="416251179" sldId="285"/>
        </pc:sldMkLst>
        <pc:spChg chg="mod">
          <ac:chgData name="Chloé Julie Charlotte Canavate" userId="a7bbf622-9e81-474e-9095-9598add3c9d2" providerId="ADAL" clId="{8A20C188-DA77-4DC2-B971-04E9A206E0B2}" dt="2022-05-29T15:49:21.560" v="2435" actId="20577"/>
          <ac:spMkLst>
            <pc:docMk/>
            <pc:sldMk cId="416251179" sldId="285"/>
            <ac:spMk id="4" creationId="{32E8DF3F-D925-42CD-B051-416D48B5DF10}"/>
          </ac:spMkLst>
        </pc:spChg>
        <pc:spChg chg="del">
          <ac:chgData name="Chloé Julie Charlotte Canavate" userId="a7bbf622-9e81-474e-9095-9598add3c9d2" providerId="ADAL" clId="{8A20C188-DA77-4DC2-B971-04E9A206E0B2}" dt="2022-05-29T15:12:01.872" v="1595" actId="478"/>
          <ac:spMkLst>
            <pc:docMk/>
            <pc:sldMk cId="416251179" sldId="285"/>
            <ac:spMk id="10" creationId="{03C5353F-CF01-DDC7-59A8-BB6D79053932}"/>
          </ac:spMkLst>
        </pc:spChg>
        <pc:spChg chg="add mod">
          <ac:chgData name="Chloé Julie Charlotte Canavate" userId="a7bbf622-9e81-474e-9095-9598add3c9d2" providerId="ADAL" clId="{8A20C188-DA77-4DC2-B971-04E9A206E0B2}" dt="2022-05-29T15:16:45.025" v="1649" actId="1076"/>
          <ac:spMkLst>
            <pc:docMk/>
            <pc:sldMk cId="416251179" sldId="285"/>
            <ac:spMk id="28" creationId="{ACDC6862-4848-5D49-4ED8-014977C2D6EB}"/>
          </ac:spMkLst>
        </pc:spChg>
        <pc:spChg chg="add mod">
          <ac:chgData name="Chloé Julie Charlotte Canavate" userId="a7bbf622-9e81-474e-9095-9598add3c9d2" providerId="ADAL" clId="{8A20C188-DA77-4DC2-B971-04E9A206E0B2}" dt="2022-05-29T15:18:00.170" v="1697" actId="1076"/>
          <ac:spMkLst>
            <pc:docMk/>
            <pc:sldMk cId="416251179" sldId="285"/>
            <ac:spMk id="34" creationId="{7CA64BA0-DBE1-F17B-34B6-C20217BF23DD}"/>
          </ac:spMkLst>
        </pc:spChg>
        <pc:spChg chg="add mod">
          <ac:chgData name="Chloé Julie Charlotte Canavate" userId="a7bbf622-9e81-474e-9095-9598add3c9d2" providerId="ADAL" clId="{8A20C188-DA77-4DC2-B971-04E9A206E0B2}" dt="2022-05-29T15:18:47.078" v="1754" actId="20577"/>
          <ac:spMkLst>
            <pc:docMk/>
            <pc:sldMk cId="416251179" sldId="285"/>
            <ac:spMk id="35" creationId="{0D880D67-556A-A6F4-7EEF-6DAADD31F345}"/>
          </ac:spMkLst>
        </pc:spChg>
        <pc:spChg chg="add mod">
          <ac:chgData name="Chloé Julie Charlotte Canavate" userId="a7bbf622-9e81-474e-9095-9598add3c9d2" providerId="ADAL" clId="{8A20C188-DA77-4DC2-B971-04E9A206E0B2}" dt="2022-05-29T15:19:10.357" v="1782" actId="1076"/>
          <ac:spMkLst>
            <pc:docMk/>
            <pc:sldMk cId="416251179" sldId="285"/>
            <ac:spMk id="36" creationId="{DD478FD4-6EA3-8347-5839-63F9A62BDEC9}"/>
          </ac:spMkLst>
        </pc:spChg>
        <pc:spChg chg="del">
          <ac:chgData name="Chloé Julie Charlotte Canavate" userId="a7bbf622-9e81-474e-9095-9598add3c9d2" providerId="ADAL" clId="{8A20C188-DA77-4DC2-B971-04E9A206E0B2}" dt="2022-05-29T15:12:01.872" v="1595" actId="478"/>
          <ac:spMkLst>
            <pc:docMk/>
            <pc:sldMk cId="416251179" sldId="285"/>
            <ac:spMk id="57" creationId="{49869AC9-022B-7002-E783-68C0DC3077DF}"/>
          </ac:spMkLst>
        </pc:spChg>
        <pc:spChg chg="del">
          <ac:chgData name="Chloé Julie Charlotte Canavate" userId="a7bbf622-9e81-474e-9095-9598add3c9d2" providerId="ADAL" clId="{8A20C188-DA77-4DC2-B971-04E9A206E0B2}" dt="2022-05-29T15:12:01.872" v="1595" actId="478"/>
          <ac:spMkLst>
            <pc:docMk/>
            <pc:sldMk cId="416251179" sldId="285"/>
            <ac:spMk id="60" creationId="{567B0282-874E-788C-8F87-F81B066CC8C9}"/>
          </ac:spMkLst>
        </pc:spChg>
        <pc:spChg chg="del">
          <ac:chgData name="Chloé Julie Charlotte Canavate" userId="a7bbf622-9e81-474e-9095-9598add3c9d2" providerId="ADAL" clId="{8A20C188-DA77-4DC2-B971-04E9A206E0B2}" dt="2022-05-29T15:12:01.872" v="1595" actId="478"/>
          <ac:spMkLst>
            <pc:docMk/>
            <pc:sldMk cId="416251179" sldId="285"/>
            <ac:spMk id="78" creationId="{DAA8AF87-948A-4B7D-8326-CEACC6C495DF}"/>
          </ac:spMkLst>
        </pc:spChg>
        <pc:picChg chg="del">
          <ac:chgData name="Chloé Julie Charlotte Canavate" userId="a7bbf622-9e81-474e-9095-9598add3c9d2" providerId="ADAL" clId="{8A20C188-DA77-4DC2-B971-04E9A206E0B2}" dt="2022-05-29T15:12:01.872" v="1595" actId="478"/>
          <ac:picMkLst>
            <pc:docMk/>
            <pc:sldMk cId="416251179" sldId="285"/>
            <ac:picMk id="5" creationId="{57741D99-2FD0-51BC-2A1C-660A68FEF407}"/>
          </ac:picMkLst>
        </pc:picChg>
        <pc:picChg chg="add del mod">
          <ac:chgData name="Chloé Julie Charlotte Canavate" userId="a7bbf622-9e81-474e-9095-9598add3c9d2" providerId="ADAL" clId="{8A20C188-DA77-4DC2-B971-04E9A206E0B2}" dt="2022-05-29T15:14:28.719" v="1611" actId="478"/>
          <ac:picMkLst>
            <pc:docMk/>
            <pc:sldMk cId="416251179" sldId="285"/>
            <ac:picMk id="8" creationId="{21D492DE-2C37-EAAC-A18C-6762A765104B}"/>
          </ac:picMkLst>
        </pc:picChg>
        <pc:picChg chg="del">
          <ac:chgData name="Chloé Julie Charlotte Canavate" userId="a7bbf622-9e81-474e-9095-9598add3c9d2" providerId="ADAL" clId="{8A20C188-DA77-4DC2-B971-04E9A206E0B2}" dt="2022-05-29T15:12:01.872" v="1595" actId="478"/>
          <ac:picMkLst>
            <pc:docMk/>
            <pc:sldMk cId="416251179" sldId="285"/>
            <ac:picMk id="9" creationId="{1D3D2B5C-B043-A24C-D9BC-85C939820439}"/>
          </ac:picMkLst>
        </pc:picChg>
        <pc:picChg chg="add del mod">
          <ac:chgData name="Chloé Julie Charlotte Canavate" userId="a7bbf622-9e81-474e-9095-9598add3c9d2" providerId="ADAL" clId="{8A20C188-DA77-4DC2-B971-04E9A206E0B2}" dt="2022-05-29T15:14:27.970" v="1610" actId="478"/>
          <ac:picMkLst>
            <pc:docMk/>
            <pc:sldMk cId="416251179" sldId="285"/>
            <ac:picMk id="12" creationId="{996C2096-AF38-057E-38A3-DA4AE464DF08}"/>
          </ac:picMkLst>
        </pc:picChg>
        <pc:picChg chg="add del mod">
          <ac:chgData name="Chloé Julie Charlotte Canavate" userId="a7bbf622-9e81-474e-9095-9598add3c9d2" providerId="ADAL" clId="{8A20C188-DA77-4DC2-B971-04E9A206E0B2}" dt="2022-05-29T15:14:27.053" v="1609" actId="478"/>
          <ac:picMkLst>
            <pc:docMk/>
            <pc:sldMk cId="416251179" sldId="285"/>
            <ac:picMk id="14" creationId="{768D4EAF-AAA7-12D2-AC29-6B19837A8AA5}"/>
          </ac:picMkLst>
        </pc:picChg>
        <pc:picChg chg="add mod modCrop">
          <ac:chgData name="Chloé Julie Charlotte Canavate" userId="a7bbf622-9e81-474e-9095-9598add3c9d2" providerId="ADAL" clId="{8A20C188-DA77-4DC2-B971-04E9A206E0B2}" dt="2022-05-29T15:15:50.952" v="1627" actId="1076"/>
          <ac:picMkLst>
            <pc:docMk/>
            <pc:sldMk cId="416251179" sldId="285"/>
            <ac:picMk id="18" creationId="{8094C1AE-2B4C-C9CF-20DE-3D14583B5A83}"/>
          </ac:picMkLst>
        </pc:picChg>
        <pc:picChg chg="del">
          <ac:chgData name="Chloé Julie Charlotte Canavate" userId="a7bbf622-9e81-474e-9095-9598add3c9d2" providerId="ADAL" clId="{8A20C188-DA77-4DC2-B971-04E9A206E0B2}" dt="2022-05-29T15:12:01.872" v="1595" actId="478"/>
          <ac:picMkLst>
            <pc:docMk/>
            <pc:sldMk cId="416251179" sldId="285"/>
            <ac:picMk id="1026" creationId="{5CF13213-0F90-485F-7E93-46B8E2BEBC63}"/>
          </ac:picMkLst>
        </pc:picChg>
        <pc:inkChg chg="del">
          <ac:chgData name="Chloé Julie Charlotte Canavate" userId="a7bbf622-9e81-474e-9095-9598add3c9d2" providerId="ADAL" clId="{8A20C188-DA77-4DC2-B971-04E9A206E0B2}" dt="2022-05-29T15:12:01.872" v="1595" actId="478"/>
          <ac:inkMkLst>
            <pc:docMk/>
            <pc:sldMk cId="416251179" sldId="285"/>
            <ac:inkMk id="3" creationId="{37D7370F-92E9-86B0-43AB-B6420EA4D70C}"/>
          </ac:inkMkLst>
        </pc:inkChg>
        <pc:inkChg chg="del">
          <ac:chgData name="Chloé Julie Charlotte Canavate" userId="a7bbf622-9e81-474e-9095-9598add3c9d2" providerId="ADAL" clId="{8A20C188-DA77-4DC2-B971-04E9A206E0B2}" dt="2022-05-29T15:12:01.872" v="1595" actId="478"/>
          <ac:inkMkLst>
            <pc:docMk/>
            <pc:sldMk cId="416251179" sldId="285"/>
            <ac:inkMk id="7" creationId="{73FE1789-8520-8BF8-9401-0CCF103DD9A6}"/>
          </ac:inkMkLst>
        </pc:inkChg>
        <pc:inkChg chg="del">
          <ac:chgData name="Chloé Julie Charlotte Canavate" userId="a7bbf622-9e81-474e-9095-9598add3c9d2" providerId="ADAL" clId="{8A20C188-DA77-4DC2-B971-04E9A206E0B2}" dt="2022-05-29T15:12:01.872" v="1595" actId="478"/>
          <ac:inkMkLst>
            <pc:docMk/>
            <pc:sldMk cId="416251179" sldId="285"/>
            <ac:inkMk id="16" creationId="{AD8290DF-8142-09FA-F669-EEB66098A9DB}"/>
          </ac:inkMkLst>
        </pc:inkChg>
        <pc:cxnChg chg="add mod">
          <ac:chgData name="Chloé Julie Charlotte Canavate" userId="a7bbf622-9e81-474e-9095-9598add3c9d2" providerId="ADAL" clId="{8A20C188-DA77-4DC2-B971-04E9A206E0B2}" dt="2022-05-29T15:15:31.194" v="1621" actId="1076"/>
          <ac:cxnSpMkLst>
            <pc:docMk/>
            <pc:sldMk cId="416251179" sldId="285"/>
            <ac:cxnSpMk id="23" creationId="{80FBE4FE-7A23-2C33-5C0E-7E78F11FF048}"/>
          </ac:cxnSpMkLst>
        </pc:cxnChg>
        <pc:cxnChg chg="add mod">
          <ac:chgData name="Chloé Julie Charlotte Canavate" userId="a7bbf622-9e81-474e-9095-9598add3c9d2" providerId="ADAL" clId="{8A20C188-DA77-4DC2-B971-04E9A206E0B2}" dt="2022-05-29T15:15:45.285" v="1625" actId="1076"/>
          <ac:cxnSpMkLst>
            <pc:docMk/>
            <pc:sldMk cId="416251179" sldId="285"/>
            <ac:cxnSpMk id="25" creationId="{2E46FAE3-0AAA-9D30-ED1E-E1811BF84850}"/>
          </ac:cxnSpMkLst>
        </pc:cxnChg>
        <pc:cxnChg chg="add mod">
          <ac:chgData name="Chloé Julie Charlotte Canavate" userId="a7bbf622-9e81-474e-9095-9598add3c9d2" providerId="ADAL" clId="{8A20C188-DA77-4DC2-B971-04E9A206E0B2}" dt="2022-05-29T15:16:08.278" v="1632" actId="14100"/>
          <ac:cxnSpMkLst>
            <pc:docMk/>
            <pc:sldMk cId="416251179" sldId="285"/>
            <ac:cxnSpMk id="27" creationId="{BD56A37C-D6C0-896E-A9DE-AA5A2C73BBE7}"/>
          </ac:cxnSpMkLst>
        </pc:cxnChg>
        <pc:cxnChg chg="add mod">
          <ac:chgData name="Chloé Julie Charlotte Canavate" userId="a7bbf622-9e81-474e-9095-9598add3c9d2" providerId="ADAL" clId="{8A20C188-DA77-4DC2-B971-04E9A206E0B2}" dt="2022-05-29T15:19:13.713" v="1783" actId="14100"/>
          <ac:cxnSpMkLst>
            <pc:docMk/>
            <pc:sldMk cId="416251179" sldId="285"/>
            <ac:cxnSpMk id="30" creationId="{7EBC5E13-1FAD-AE19-BFB2-F9BAB3753254}"/>
          </ac:cxnSpMkLst>
        </pc:cxnChg>
      </pc:sldChg>
      <pc:sldChg chg="addSp delSp modSp add mod">
        <pc:chgData name="Chloé Julie Charlotte Canavate" userId="a7bbf622-9e81-474e-9095-9598add3c9d2" providerId="ADAL" clId="{8A20C188-DA77-4DC2-B971-04E9A206E0B2}" dt="2022-05-29T15:49:26.568" v="2437" actId="20577"/>
        <pc:sldMkLst>
          <pc:docMk/>
          <pc:sldMk cId="10835379" sldId="286"/>
        </pc:sldMkLst>
        <pc:spChg chg="mod">
          <ac:chgData name="Chloé Julie Charlotte Canavate" userId="a7bbf622-9e81-474e-9095-9598add3c9d2" providerId="ADAL" clId="{8A20C188-DA77-4DC2-B971-04E9A206E0B2}" dt="2022-05-29T15:49:26.568" v="2437" actId="20577"/>
          <ac:spMkLst>
            <pc:docMk/>
            <pc:sldMk cId="10835379" sldId="286"/>
            <ac:spMk id="4" creationId="{32E8DF3F-D925-42CD-B051-416D48B5DF10}"/>
          </ac:spMkLst>
        </pc:spChg>
        <pc:spChg chg="add mod">
          <ac:chgData name="Chloé Julie Charlotte Canavate" userId="a7bbf622-9e81-474e-9095-9598add3c9d2" providerId="ADAL" clId="{8A20C188-DA77-4DC2-B971-04E9A206E0B2}" dt="2022-05-29T15:22:36.396" v="1838" actId="1076"/>
          <ac:spMkLst>
            <pc:docMk/>
            <pc:sldMk cId="10835379" sldId="286"/>
            <ac:spMk id="9" creationId="{10D91B8B-95A3-7950-33F4-F0C65428C2FB}"/>
          </ac:spMkLst>
        </pc:spChg>
        <pc:spChg chg="add mod">
          <ac:chgData name="Chloé Julie Charlotte Canavate" userId="a7bbf622-9e81-474e-9095-9598add3c9d2" providerId="ADAL" clId="{8A20C188-DA77-4DC2-B971-04E9A206E0B2}" dt="2022-05-29T15:22:44.662" v="1845" actId="1076"/>
          <ac:spMkLst>
            <pc:docMk/>
            <pc:sldMk cId="10835379" sldId="286"/>
            <ac:spMk id="10" creationId="{9AAE5E7A-AFF6-8CEC-C451-B4DB9D4A29B5}"/>
          </ac:spMkLst>
        </pc:spChg>
        <pc:spChg chg="add mod">
          <ac:chgData name="Chloé Julie Charlotte Canavate" userId="a7bbf622-9e81-474e-9095-9598add3c9d2" providerId="ADAL" clId="{8A20C188-DA77-4DC2-B971-04E9A206E0B2}" dt="2022-05-29T15:23:57.051" v="1887" actId="1035"/>
          <ac:spMkLst>
            <pc:docMk/>
            <pc:sldMk cId="10835379" sldId="286"/>
            <ac:spMk id="13" creationId="{EA0AAACE-10EF-23B3-5A39-E9B78A1965A2}"/>
          </ac:spMkLst>
        </pc:spChg>
        <pc:picChg chg="mod modCrop">
          <ac:chgData name="Chloé Julie Charlotte Canavate" userId="a7bbf622-9e81-474e-9095-9598add3c9d2" providerId="ADAL" clId="{8A20C188-DA77-4DC2-B971-04E9A206E0B2}" dt="2022-05-29T15:22:02.090" v="1831" actId="1076"/>
          <ac:picMkLst>
            <pc:docMk/>
            <pc:sldMk cId="10835379" sldId="286"/>
            <ac:picMk id="8" creationId="{21D492DE-2C37-EAAC-A18C-6762A765104B}"/>
          </ac:picMkLst>
        </pc:picChg>
        <pc:picChg chg="mod modCrop">
          <ac:chgData name="Chloé Julie Charlotte Canavate" userId="a7bbf622-9e81-474e-9095-9598add3c9d2" providerId="ADAL" clId="{8A20C188-DA77-4DC2-B971-04E9A206E0B2}" dt="2022-05-29T15:21:23.684" v="1826" actId="1035"/>
          <ac:picMkLst>
            <pc:docMk/>
            <pc:sldMk cId="10835379" sldId="286"/>
            <ac:picMk id="12" creationId="{996C2096-AF38-057E-38A3-DA4AE464DF08}"/>
          </ac:picMkLst>
        </pc:picChg>
        <pc:picChg chg="mod modCrop">
          <ac:chgData name="Chloé Julie Charlotte Canavate" userId="a7bbf622-9e81-474e-9095-9598add3c9d2" providerId="ADAL" clId="{8A20C188-DA77-4DC2-B971-04E9A206E0B2}" dt="2022-05-29T15:21:57.598" v="1830" actId="14100"/>
          <ac:picMkLst>
            <pc:docMk/>
            <pc:sldMk cId="10835379" sldId="286"/>
            <ac:picMk id="14" creationId="{768D4EAF-AAA7-12D2-AC29-6B19837A8AA5}"/>
          </ac:picMkLst>
        </pc:picChg>
        <pc:picChg chg="del">
          <ac:chgData name="Chloé Julie Charlotte Canavate" userId="a7bbf622-9e81-474e-9095-9598add3c9d2" providerId="ADAL" clId="{8A20C188-DA77-4DC2-B971-04E9A206E0B2}" dt="2022-05-29T15:19:26.153" v="1784" actId="478"/>
          <ac:picMkLst>
            <pc:docMk/>
            <pc:sldMk cId="10835379" sldId="286"/>
            <ac:picMk id="18" creationId="{8094C1AE-2B4C-C9CF-20DE-3D14583B5A83}"/>
          </ac:picMkLst>
        </pc:picChg>
        <pc:cxnChg chg="add mod">
          <ac:chgData name="Chloé Julie Charlotte Canavate" userId="a7bbf622-9e81-474e-9095-9598add3c9d2" providerId="ADAL" clId="{8A20C188-DA77-4DC2-B971-04E9A206E0B2}" dt="2022-05-29T15:24:03.451" v="1888" actId="14100"/>
          <ac:cxnSpMkLst>
            <pc:docMk/>
            <pc:sldMk cId="10835379" sldId="286"/>
            <ac:cxnSpMk id="11" creationId="{5A07A60E-8E3E-3437-7E5E-EA98AC6C1AA8}"/>
          </ac:cxnSpMkLst>
        </pc:cxnChg>
      </pc:sldChg>
      <pc:sldMasterChg chg="modSldLayout">
        <pc:chgData name="Chloé Julie Charlotte Canavate" userId="a7bbf622-9e81-474e-9095-9598add3c9d2" providerId="ADAL" clId="{8A20C188-DA77-4DC2-B971-04E9A206E0B2}" dt="2022-05-29T14:49:13.755" v="1014" actId="1076"/>
        <pc:sldMasterMkLst>
          <pc:docMk/>
          <pc:sldMasterMk cId="1119611595" sldId="2147483648"/>
        </pc:sldMasterMkLst>
        <pc:sldLayoutChg chg="modSp mod">
          <pc:chgData name="Chloé Julie Charlotte Canavate" userId="a7bbf622-9e81-474e-9095-9598add3c9d2" providerId="ADAL" clId="{8A20C188-DA77-4DC2-B971-04E9A206E0B2}" dt="2022-05-29T14:49:13.755" v="1014" actId="1076"/>
          <pc:sldLayoutMkLst>
            <pc:docMk/>
            <pc:sldMasterMk cId="1119611595" sldId="2147483648"/>
            <pc:sldLayoutMk cId="1258886870" sldId="2147483650"/>
          </pc:sldLayoutMkLst>
          <pc:spChg chg="mod">
            <ac:chgData name="Chloé Julie Charlotte Canavate" userId="a7bbf622-9e81-474e-9095-9598add3c9d2" providerId="ADAL" clId="{8A20C188-DA77-4DC2-B971-04E9A206E0B2}" dt="2022-05-29T14:49:13.755" v="1014" actId="1076"/>
            <ac:spMkLst>
              <pc:docMk/>
              <pc:sldMasterMk cId="1119611595" sldId="2147483648"/>
              <pc:sldLayoutMk cId="1258886870" sldId="2147483650"/>
              <ac:spMk id="129" creationId="{00000000-0000-0000-0000-000000000000}"/>
            </ac:spMkLst>
          </pc:spChg>
          <pc:picChg chg="mod">
            <ac:chgData name="Chloé Julie Charlotte Canavate" userId="a7bbf622-9e81-474e-9095-9598add3c9d2" providerId="ADAL" clId="{8A20C188-DA77-4DC2-B971-04E9A206E0B2}" dt="2022-05-29T14:49:10.751" v="1013" actId="166"/>
            <ac:picMkLst>
              <pc:docMk/>
              <pc:sldMasterMk cId="1119611595" sldId="2147483648"/>
              <pc:sldLayoutMk cId="1258886870" sldId="2147483650"/>
              <ac:picMk id="254" creationId="{00000000-0000-0000-0000-000000000000}"/>
            </ac:picMkLst>
          </pc:pic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7-12T11:53:45.285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569 0 24575,'-553'0'-1365,"537"0"-546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7-12T11:53:45.28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0 24575,'0'0'-819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7-12T11:53:45.28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527 0 24575,'-513'0'-1365,"499"0"-546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7-12T11:45:14.45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797 0 24575,'-775'0'-1365,"753"0"-5461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7-12T11:45:14.460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0 24575,'0'0'-819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7-12T11:45:14.461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737 0 24575,'-717'0'-1365,"697"0"-546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796F9C-BF67-4EBA-95F0-CC5D4C9F9118}" type="datetimeFigureOut">
              <a:rPr lang="en-GB" smtClean="0"/>
              <a:t>14/07/2022</a:t>
            </a:fld>
            <a:endParaRPr lang="en-GB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67FAD6-230E-4FF8-8F82-11CCC35E16B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78121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7FAD6-230E-4FF8-8F82-11CCC35E16B7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23005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7FAD6-230E-4FF8-8F82-11CCC35E16B7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31057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7FAD6-230E-4FF8-8F82-11CCC35E16B7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52711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7FAD6-230E-4FF8-8F82-11CCC35E16B7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67279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7FAD6-230E-4FF8-8F82-11CCC35E16B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13599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7FAD6-230E-4FF8-8F82-11CCC35E16B7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8990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7FAD6-230E-4FF8-8F82-11CCC35E16B7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7499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7FAD6-230E-4FF8-8F82-11CCC35E16B7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59942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b="0">
              <a:ea typeface="+mn-lt"/>
              <a:cs typeface="+mn-lt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7FAD6-230E-4FF8-8F82-11CCC35E16B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55542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7FAD6-230E-4FF8-8F82-11CCC35E16B7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09437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7FAD6-230E-4FF8-8F82-11CCC35E16B7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5183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7FAD6-230E-4FF8-8F82-11CCC35E16B7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34270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7FAD6-230E-4FF8-8F82-11CCC35E16B7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5909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7FAD6-230E-4FF8-8F82-11CCC35E16B7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99134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7FAD6-230E-4FF8-8F82-11CCC35E16B7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16437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/>
              <a:t>	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7FAD6-230E-4FF8-8F82-11CCC35E16B7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4649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Rettangolo 252"/>
          <p:cNvSpPr/>
          <p:nvPr userDrawn="1"/>
        </p:nvSpPr>
        <p:spPr>
          <a:xfrm>
            <a:off x="0" y="1"/>
            <a:ext cx="12192000" cy="1269904"/>
          </a:xfrm>
          <a:prstGeom prst="rect">
            <a:avLst/>
          </a:prstGeom>
          <a:solidFill>
            <a:srgbClr val="728FA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09600" y="1600201"/>
            <a:ext cx="11098301" cy="4525963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29" name="Rettangolo 128"/>
          <p:cNvSpPr/>
          <p:nvPr userDrawn="1"/>
        </p:nvSpPr>
        <p:spPr>
          <a:xfrm>
            <a:off x="0" y="6136086"/>
            <a:ext cx="12192000" cy="731837"/>
          </a:xfrm>
          <a:prstGeom prst="rect">
            <a:avLst/>
          </a:prstGeom>
          <a:solidFill>
            <a:srgbClr val="728FA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30" name="CasellaDiTesto 129"/>
          <p:cNvSpPr txBox="1"/>
          <p:nvPr userDrawn="1"/>
        </p:nvSpPr>
        <p:spPr>
          <a:xfrm>
            <a:off x="210371" y="6363506"/>
            <a:ext cx="30691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>
                <a:solidFill>
                  <a:srgbClr val="FFFFFF"/>
                </a:solidFill>
                <a:latin typeface="Arial"/>
                <a:cs typeface="Arial"/>
              </a:rPr>
              <a:t>Nome Cognome</a:t>
            </a:r>
            <a:r>
              <a:rPr lang="it-IT" sz="1200" b="1" baseline="0">
                <a:solidFill>
                  <a:srgbClr val="FFFFFF"/>
                </a:solidFill>
                <a:latin typeface="Arial"/>
                <a:cs typeface="Arial"/>
              </a:rPr>
              <a:t>, </a:t>
            </a:r>
            <a:r>
              <a:rPr lang="it-IT" sz="1200" b="1" baseline="0" err="1">
                <a:solidFill>
                  <a:srgbClr val="FFFFFF"/>
                </a:solidFill>
                <a:latin typeface="Arial"/>
                <a:cs typeface="Arial"/>
              </a:rPr>
              <a:t>assoc.prof</a:t>
            </a:r>
            <a:r>
              <a:rPr lang="it-IT" sz="1200" b="1" baseline="0">
                <a:solidFill>
                  <a:srgbClr val="FFFFFF"/>
                </a:solidFill>
                <a:latin typeface="Arial"/>
                <a:cs typeface="Arial"/>
              </a:rPr>
              <a:t>. ABC </a:t>
            </a:r>
            <a:r>
              <a:rPr lang="it-IT" sz="1200" b="1" baseline="0" err="1">
                <a:solidFill>
                  <a:srgbClr val="FFFFFF"/>
                </a:solidFill>
                <a:latin typeface="Arial"/>
                <a:cs typeface="Arial"/>
              </a:rPr>
              <a:t>Dept</a:t>
            </a:r>
            <a:r>
              <a:rPr lang="it-IT" sz="1200" b="1" baseline="0">
                <a:solidFill>
                  <a:srgbClr val="FFFFFF"/>
                </a:solidFill>
                <a:latin typeface="Arial"/>
                <a:cs typeface="Arial"/>
              </a:rPr>
              <a:t>.</a:t>
            </a:r>
            <a:endParaRPr lang="it-IT" sz="1200" b="1">
              <a:solidFill>
                <a:srgbClr val="FFFFFF"/>
              </a:solidFill>
              <a:latin typeface="Arial"/>
              <a:cs typeface="Arial"/>
            </a:endParaRPr>
          </a:p>
        </p:txBody>
      </p:sp>
      <p:grpSp>
        <p:nvGrpSpPr>
          <p:cNvPr id="132" name="Gruppo 131"/>
          <p:cNvGrpSpPr/>
          <p:nvPr userDrawn="1"/>
        </p:nvGrpSpPr>
        <p:grpSpPr>
          <a:xfrm>
            <a:off x="64010" y="1089904"/>
            <a:ext cx="12048863" cy="180000"/>
            <a:chOff x="1218340" y="275867"/>
            <a:chExt cx="17715122" cy="567843"/>
          </a:xfrm>
        </p:grpSpPr>
        <p:cxnSp>
          <p:nvCxnSpPr>
            <p:cNvPr id="133" name="Connettore 1 132"/>
            <p:cNvCxnSpPr/>
            <p:nvPr userDrawn="1"/>
          </p:nvCxnSpPr>
          <p:spPr>
            <a:xfrm>
              <a:off x="121834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Connettore 1 133"/>
            <p:cNvCxnSpPr/>
            <p:nvPr userDrawn="1"/>
          </p:nvCxnSpPr>
          <p:spPr>
            <a:xfrm>
              <a:off x="136720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Connettore 1 134"/>
            <p:cNvCxnSpPr/>
            <p:nvPr userDrawn="1"/>
          </p:nvCxnSpPr>
          <p:spPr>
            <a:xfrm>
              <a:off x="151607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Connettore 1 135"/>
            <p:cNvCxnSpPr/>
            <p:nvPr userDrawn="1"/>
          </p:nvCxnSpPr>
          <p:spPr>
            <a:xfrm>
              <a:off x="166494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Connettore 1 136"/>
            <p:cNvCxnSpPr/>
            <p:nvPr userDrawn="1"/>
          </p:nvCxnSpPr>
          <p:spPr>
            <a:xfrm>
              <a:off x="181380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Connettore 1 137"/>
            <p:cNvCxnSpPr/>
            <p:nvPr userDrawn="1"/>
          </p:nvCxnSpPr>
          <p:spPr>
            <a:xfrm>
              <a:off x="196267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Connettore 1 138"/>
            <p:cNvCxnSpPr/>
            <p:nvPr userDrawn="1"/>
          </p:nvCxnSpPr>
          <p:spPr>
            <a:xfrm>
              <a:off x="211154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Connettore 1 139"/>
            <p:cNvCxnSpPr/>
            <p:nvPr userDrawn="1"/>
          </p:nvCxnSpPr>
          <p:spPr>
            <a:xfrm>
              <a:off x="226040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Connettore 1 140"/>
            <p:cNvCxnSpPr/>
            <p:nvPr userDrawn="1"/>
          </p:nvCxnSpPr>
          <p:spPr>
            <a:xfrm>
              <a:off x="240927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Connettore 1 141"/>
            <p:cNvCxnSpPr/>
            <p:nvPr userDrawn="1"/>
          </p:nvCxnSpPr>
          <p:spPr>
            <a:xfrm>
              <a:off x="255814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Connettore 1 142"/>
            <p:cNvCxnSpPr/>
            <p:nvPr userDrawn="1"/>
          </p:nvCxnSpPr>
          <p:spPr>
            <a:xfrm>
              <a:off x="270701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Connettore 1 143"/>
            <p:cNvCxnSpPr/>
            <p:nvPr userDrawn="1"/>
          </p:nvCxnSpPr>
          <p:spPr>
            <a:xfrm>
              <a:off x="285587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Connettore 1 144"/>
            <p:cNvCxnSpPr/>
            <p:nvPr userDrawn="1"/>
          </p:nvCxnSpPr>
          <p:spPr>
            <a:xfrm>
              <a:off x="300474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Connettore 1 145"/>
            <p:cNvCxnSpPr/>
            <p:nvPr userDrawn="1"/>
          </p:nvCxnSpPr>
          <p:spPr>
            <a:xfrm>
              <a:off x="315361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Connettore 1 146"/>
            <p:cNvCxnSpPr/>
            <p:nvPr userDrawn="1"/>
          </p:nvCxnSpPr>
          <p:spPr>
            <a:xfrm>
              <a:off x="330247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Connettore 1 147"/>
            <p:cNvCxnSpPr/>
            <p:nvPr userDrawn="1"/>
          </p:nvCxnSpPr>
          <p:spPr>
            <a:xfrm>
              <a:off x="345134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Connettore 1 148"/>
            <p:cNvCxnSpPr/>
            <p:nvPr userDrawn="1"/>
          </p:nvCxnSpPr>
          <p:spPr>
            <a:xfrm>
              <a:off x="360021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Connettore 1 149"/>
            <p:cNvCxnSpPr/>
            <p:nvPr userDrawn="1"/>
          </p:nvCxnSpPr>
          <p:spPr>
            <a:xfrm>
              <a:off x="374907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Connettore 1 150"/>
            <p:cNvCxnSpPr/>
            <p:nvPr userDrawn="1"/>
          </p:nvCxnSpPr>
          <p:spPr>
            <a:xfrm>
              <a:off x="389794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Connettore 1 151"/>
            <p:cNvCxnSpPr/>
            <p:nvPr userDrawn="1"/>
          </p:nvCxnSpPr>
          <p:spPr>
            <a:xfrm>
              <a:off x="404681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Connettore 1 152"/>
            <p:cNvCxnSpPr/>
            <p:nvPr userDrawn="1"/>
          </p:nvCxnSpPr>
          <p:spPr>
            <a:xfrm>
              <a:off x="419568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Connettore 1 153"/>
            <p:cNvCxnSpPr/>
            <p:nvPr userDrawn="1"/>
          </p:nvCxnSpPr>
          <p:spPr>
            <a:xfrm>
              <a:off x="434454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Connettore 1 154"/>
            <p:cNvCxnSpPr/>
            <p:nvPr userDrawn="1"/>
          </p:nvCxnSpPr>
          <p:spPr>
            <a:xfrm>
              <a:off x="449341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Connettore 1 155"/>
            <p:cNvCxnSpPr/>
            <p:nvPr userDrawn="1"/>
          </p:nvCxnSpPr>
          <p:spPr>
            <a:xfrm>
              <a:off x="464228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Connettore 1 156"/>
            <p:cNvCxnSpPr/>
            <p:nvPr userDrawn="1"/>
          </p:nvCxnSpPr>
          <p:spPr>
            <a:xfrm>
              <a:off x="479114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Connettore 1 157"/>
            <p:cNvCxnSpPr/>
            <p:nvPr userDrawn="1"/>
          </p:nvCxnSpPr>
          <p:spPr>
            <a:xfrm>
              <a:off x="494001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Connettore 1 158"/>
            <p:cNvCxnSpPr/>
            <p:nvPr userDrawn="1"/>
          </p:nvCxnSpPr>
          <p:spPr>
            <a:xfrm>
              <a:off x="508888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Connettore 1 159"/>
            <p:cNvCxnSpPr/>
            <p:nvPr userDrawn="1"/>
          </p:nvCxnSpPr>
          <p:spPr>
            <a:xfrm>
              <a:off x="523774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Connettore 1 160"/>
            <p:cNvCxnSpPr/>
            <p:nvPr userDrawn="1"/>
          </p:nvCxnSpPr>
          <p:spPr>
            <a:xfrm>
              <a:off x="538661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Connettore 1 161"/>
            <p:cNvCxnSpPr/>
            <p:nvPr userDrawn="1"/>
          </p:nvCxnSpPr>
          <p:spPr>
            <a:xfrm>
              <a:off x="553548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Connettore 1 162"/>
            <p:cNvCxnSpPr/>
            <p:nvPr userDrawn="1"/>
          </p:nvCxnSpPr>
          <p:spPr>
            <a:xfrm>
              <a:off x="568435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Connettore 1 163"/>
            <p:cNvCxnSpPr/>
            <p:nvPr userDrawn="1"/>
          </p:nvCxnSpPr>
          <p:spPr>
            <a:xfrm>
              <a:off x="583321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Connettore 1 164"/>
            <p:cNvCxnSpPr/>
            <p:nvPr userDrawn="1"/>
          </p:nvCxnSpPr>
          <p:spPr>
            <a:xfrm>
              <a:off x="598208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Connettore 1 165"/>
            <p:cNvCxnSpPr/>
            <p:nvPr userDrawn="1"/>
          </p:nvCxnSpPr>
          <p:spPr>
            <a:xfrm>
              <a:off x="613095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Connettore 1 166"/>
            <p:cNvCxnSpPr/>
            <p:nvPr userDrawn="1"/>
          </p:nvCxnSpPr>
          <p:spPr>
            <a:xfrm>
              <a:off x="627981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Connettore 1 167"/>
            <p:cNvCxnSpPr/>
            <p:nvPr userDrawn="1"/>
          </p:nvCxnSpPr>
          <p:spPr>
            <a:xfrm>
              <a:off x="642868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Connettore 1 168"/>
            <p:cNvCxnSpPr/>
            <p:nvPr userDrawn="1"/>
          </p:nvCxnSpPr>
          <p:spPr>
            <a:xfrm>
              <a:off x="657755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Connettore 1 169"/>
            <p:cNvCxnSpPr/>
            <p:nvPr userDrawn="1"/>
          </p:nvCxnSpPr>
          <p:spPr>
            <a:xfrm>
              <a:off x="672641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Connettore 1 170"/>
            <p:cNvCxnSpPr/>
            <p:nvPr userDrawn="1"/>
          </p:nvCxnSpPr>
          <p:spPr>
            <a:xfrm>
              <a:off x="687528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Connettore 1 171"/>
            <p:cNvCxnSpPr/>
            <p:nvPr userDrawn="1"/>
          </p:nvCxnSpPr>
          <p:spPr>
            <a:xfrm>
              <a:off x="702415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Connettore 1 172"/>
            <p:cNvCxnSpPr/>
            <p:nvPr userDrawn="1"/>
          </p:nvCxnSpPr>
          <p:spPr>
            <a:xfrm>
              <a:off x="717302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Connettore 1 173"/>
            <p:cNvCxnSpPr/>
            <p:nvPr userDrawn="1"/>
          </p:nvCxnSpPr>
          <p:spPr>
            <a:xfrm>
              <a:off x="732188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Connettore 1 174"/>
            <p:cNvCxnSpPr/>
            <p:nvPr userDrawn="1"/>
          </p:nvCxnSpPr>
          <p:spPr>
            <a:xfrm>
              <a:off x="747075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Connettore 1 175"/>
            <p:cNvCxnSpPr/>
            <p:nvPr userDrawn="1"/>
          </p:nvCxnSpPr>
          <p:spPr>
            <a:xfrm>
              <a:off x="761962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Connettore 1 176"/>
            <p:cNvCxnSpPr/>
            <p:nvPr userDrawn="1"/>
          </p:nvCxnSpPr>
          <p:spPr>
            <a:xfrm>
              <a:off x="776848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Connettore 1 177"/>
            <p:cNvCxnSpPr/>
            <p:nvPr userDrawn="1"/>
          </p:nvCxnSpPr>
          <p:spPr>
            <a:xfrm>
              <a:off x="791735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Connettore 1 178"/>
            <p:cNvCxnSpPr/>
            <p:nvPr userDrawn="1"/>
          </p:nvCxnSpPr>
          <p:spPr>
            <a:xfrm>
              <a:off x="806622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Connettore 1 179"/>
            <p:cNvCxnSpPr/>
            <p:nvPr userDrawn="1"/>
          </p:nvCxnSpPr>
          <p:spPr>
            <a:xfrm>
              <a:off x="821508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Connettore 1 180"/>
            <p:cNvCxnSpPr/>
            <p:nvPr userDrawn="1"/>
          </p:nvCxnSpPr>
          <p:spPr>
            <a:xfrm>
              <a:off x="836395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Connettore 1 181"/>
            <p:cNvCxnSpPr/>
            <p:nvPr userDrawn="1"/>
          </p:nvCxnSpPr>
          <p:spPr>
            <a:xfrm>
              <a:off x="851282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Connettore 1 182"/>
            <p:cNvCxnSpPr/>
            <p:nvPr userDrawn="1"/>
          </p:nvCxnSpPr>
          <p:spPr>
            <a:xfrm>
              <a:off x="866169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Connettore 1 183"/>
            <p:cNvCxnSpPr/>
            <p:nvPr userDrawn="1"/>
          </p:nvCxnSpPr>
          <p:spPr>
            <a:xfrm>
              <a:off x="881055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Connettore 1 184"/>
            <p:cNvCxnSpPr/>
            <p:nvPr userDrawn="1"/>
          </p:nvCxnSpPr>
          <p:spPr>
            <a:xfrm>
              <a:off x="895942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Connettore 1 185"/>
            <p:cNvCxnSpPr/>
            <p:nvPr userDrawn="1"/>
          </p:nvCxnSpPr>
          <p:spPr>
            <a:xfrm>
              <a:off x="910829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Connettore 1 186"/>
            <p:cNvCxnSpPr/>
            <p:nvPr userDrawn="1"/>
          </p:nvCxnSpPr>
          <p:spPr>
            <a:xfrm>
              <a:off x="925715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Connettore 1 187"/>
            <p:cNvCxnSpPr/>
            <p:nvPr userDrawn="1"/>
          </p:nvCxnSpPr>
          <p:spPr>
            <a:xfrm>
              <a:off x="940602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Connettore 1 188"/>
            <p:cNvCxnSpPr/>
            <p:nvPr userDrawn="1"/>
          </p:nvCxnSpPr>
          <p:spPr>
            <a:xfrm>
              <a:off x="955489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Connettore 1 189"/>
            <p:cNvCxnSpPr/>
            <p:nvPr userDrawn="1"/>
          </p:nvCxnSpPr>
          <p:spPr>
            <a:xfrm>
              <a:off x="970375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Connettore 1 190"/>
            <p:cNvCxnSpPr/>
            <p:nvPr userDrawn="1"/>
          </p:nvCxnSpPr>
          <p:spPr>
            <a:xfrm>
              <a:off x="985262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Connettore 1 191"/>
            <p:cNvCxnSpPr/>
            <p:nvPr userDrawn="1"/>
          </p:nvCxnSpPr>
          <p:spPr>
            <a:xfrm>
              <a:off x="1000149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Connettore 1 192"/>
            <p:cNvCxnSpPr/>
            <p:nvPr userDrawn="1"/>
          </p:nvCxnSpPr>
          <p:spPr>
            <a:xfrm>
              <a:off x="1015036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Connettore 1 193"/>
            <p:cNvCxnSpPr/>
            <p:nvPr userDrawn="1"/>
          </p:nvCxnSpPr>
          <p:spPr>
            <a:xfrm>
              <a:off x="1029922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Connettore 1 194"/>
            <p:cNvCxnSpPr/>
            <p:nvPr userDrawn="1"/>
          </p:nvCxnSpPr>
          <p:spPr>
            <a:xfrm>
              <a:off x="1044809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Connettore 1 195"/>
            <p:cNvCxnSpPr/>
            <p:nvPr userDrawn="1"/>
          </p:nvCxnSpPr>
          <p:spPr>
            <a:xfrm>
              <a:off x="1059696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Connettore 1 196"/>
            <p:cNvCxnSpPr/>
            <p:nvPr userDrawn="1"/>
          </p:nvCxnSpPr>
          <p:spPr>
            <a:xfrm>
              <a:off x="1074582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Connettore 1 197"/>
            <p:cNvCxnSpPr/>
            <p:nvPr userDrawn="1"/>
          </p:nvCxnSpPr>
          <p:spPr>
            <a:xfrm>
              <a:off x="1089469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Connettore 1 198"/>
            <p:cNvCxnSpPr/>
            <p:nvPr userDrawn="1"/>
          </p:nvCxnSpPr>
          <p:spPr>
            <a:xfrm>
              <a:off x="1104356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Connettore 1 199"/>
            <p:cNvCxnSpPr/>
            <p:nvPr userDrawn="1"/>
          </p:nvCxnSpPr>
          <p:spPr>
            <a:xfrm>
              <a:off x="1119242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Connettore 1 200"/>
            <p:cNvCxnSpPr/>
            <p:nvPr userDrawn="1"/>
          </p:nvCxnSpPr>
          <p:spPr>
            <a:xfrm>
              <a:off x="1134129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Connettore 1 201"/>
            <p:cNvCxnSpPr/>
            <p:nvPr userDrawn="1"/>
          </p:nvCxnSpPr>
          <p:spPr>
            <a:xfrm>
              <a:off x="1149016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Connettore 1 202"/>
            <p:cNvCxnSpPr/>
            <p:nvPr userDrawn="1"/>
          </p:nvCxnSpPr>
          <p:spPr>
            <a:xfrm>
              <a:off x="1163903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Connettore 1 203"/>
            <p:cNvCxnSpPr/>
            <p:nvPr userDrawn="1"/>
          </p:nvCxnSpPr>
          <p:spPr>
            <a:xfrm>
              <a:off x="1178789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Connettore 1 204"/>
            <p:cNvCxnSpPr/>
            <p:nvPr userDrawn="1"/>
          </p:nvCxnSpPr>
          <p:spPr>
            <a:xfrm>
              <a:off x="1193676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Connettore 1 205"/>
            <p:cNvCxnSpPr/>
            <p:nvPr userDrawn="1"/>
          </p:nvCxnSpPr>
          <p:spPr>
            <a:xfrm>
              <a:off x="1208563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Connettore 1 206"/>
            <p:cNvCxnSpPr/>
            <p:nvPr userDrawn="1"/>
          </p:nvCxnSpPr>
          <p:spPr>
            <a:xfrm>
              <a:off x="1223449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Connettore 1 207"/>
            <p:cNvCxnSpPr/>
            <p:nvPr userDrawn="1"/>
          </p:nvCxnSpPr>
          <p:spPr>
            <a:xfrm>
              <a:off x="1238336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Connettore 1 208"/>
            <p:cNvCxnSpPr/>
            <p:nvPr userDrawn="1"/>
          </p:nvCxnSpPr>
          <p:spPr>
            <a:xfrm>
              <a:off x="1253223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Connettore 1 209"/>
            <p:cNvCxnSpPr/>
            <p:nvPr userDrawn="1"/>
          </p:nvCxnSpPr>
          <p:spPr>
            <a:xfrm>
              <a:off x="1268109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Connettore 1 210"/>
            <p:cNvCxnSpPr/>
            <p:nvPr userDrawn="1"/>
          </p:nvCxnSpPr>
          <p:spPr>
            <a:xfrm>
              <a:off x="1282996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Connettore 1 211"/>
            <p:cNvCxnSpPr/>
            <p:nvPr userDrawn="1"/>
          </p:nvCxnSpPr>
          <p:spPr>
            <a:xfrm>
              <a:off x="1297883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Connettore 1 212"/>
            <p:cNvCxnSpPr/>
            <p:nvPr userDrawn="1"/>
          </p:nvCxnSpPr>
          <p:spPr>
            <a:xfrm>
              <a:off x="1312770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Connettore 1 213"/>
            <p:cNvCxnSpPr/>
            <p:nvPr userDrawn="1"/>
          </p:nvCxnSpPr>
          <p:spPr>
            <a:xfrm>
              <a:off x="1327656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Connettore 1 214"/>
            <p:cNvCxnSpPr/>
            <p:nvPr userDrawn="1"/>
          </p:nvCxnSpPr>
          <p:spPr>
            <a:xfrm>
              <a:off x="1342543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Connettore 1 215"/>
            <p:cNvCxnSpPr/>
            <p:nvPr userDrawn="1"/>
          </p:nvCxnSpPr>
          <p:spPr>
            <a:xfrm>
              <a:off x="1357430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Connettore 1 216"/>
            <p:cNvCxnSpPr/>
            <p:nvPr userDrawn="1"/>
          </p:nvCxnSpPr>
          <p:spPr>
            <a:xfrm>
              <a:off x="1372316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Connettore 1 217"/>
            <p:cNvCxnSpPr/>
            <p:nvPr userDrawn="1"/>
          </p:nvCxnSpPr>
          <p:spPr>
            <a:xfrm>
              <a:off x="1387203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Connettore 1 218"/>
            <p:cNvCxnSpPr/>
            <p:nvPr userDrawn="1"/>
          </p:nvCxnSpPr>
          <p:spPr>
            <a:xfrm>
              <a:off x="1402090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Connettore 1 219"/>
            <p:cNvCxnSpPr/>
            <p:nvPr userDrawn="1"/>
          </p:nvCxnSpPr>
          <p:spPr>
            <a:xfrm>
              <a:off x="1416976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Connettore 1 220"/>
            <p:cNvCxnSpPr/>
            <p:nvPr userDrawn="1"/>
          </p:nvCxnSpPr>
          <p:spPr>
            <a:xfrm>
              <a:off x="1431863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Connettore 1 221"/>
            <p:cNvCxnSpPr/>
            <p:nvPr userDrawn="1"/>
          </p:nvCxnSpPr>
          <p:spPr>
            <a:xfrm>
              <a:off x="1446750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Connettore 1 222"/>
            <p:cNvCxnSpPr/>
            <p:nvPr userDrawn="1"/>
          </p:nvCxnSpPr>
          <p:spPr>
            <a:xfrm>
              <a:off x="1461637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Connettore 1 223"/>
            <p:cNvCxnSpPr/>
            <p:nvPr userDrawn="1"/>
          </p:nvCxnSpPr>
          <p:spPr>
            <a:xfrm>
              <a:off x="1476523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Connettore 1 224"/>
            <p:cNvCxnSpPr/>
            <p:nvPr userDrawn="1"/>
          </p:nvCxnSpPr>
          <p:spPr>
            <a:xfrm>
              <a:off x="1491410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Connettore 1 225"/>
            <p:cNvCxnSpPr/>
            <p:nvPr userDrawn="1"/>
          </p:nvCxnSpPr>
          <p:spPr>
            <a:xfrm>
              <a:off x="1506297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Connettore 1 226"/>
            <p:cNvCxnSpPr/>
            <p:nvPr userDrawn="1"/>
          </p:nvCxnSpPr>
          <p:spPr>
            <a:xfrm>
              <a:off x="1521183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Connettore 1 227"/>
            <p:cNvCxnSpPr/>
            <p:nvPr userDrawn="1"/>
          </p:nvCxnSpPr>
          <p:spPr>
            <a:xfrm>
              <a:off x="1536070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Connettore 1 228"/>
            <p:cNvCxnSpPr/>
            <p:nvPr userDrawn="1"/>
          </p:nvCxnSpPr>
          <p:spPr>
            <a:xfrm>
              <a:off x="1550957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Connettore 1 229"/>
            <p:cNvCxnSpPr/>
            <p:nvPr userDrawn="1"/>
          </p:nvCxnSpPr>
          <p:spPr>
            <a:xfrm>
              <a:off x="1565843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Connettore 1 230"/>
            <p:cNvCxnSpPr/>
            <p:nvPr userDrawn="1"/>
          </p:nvCxnSpPr>
          <p:spPr>
            <a:xfrm>
              <a:off x="1580730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Connettore 1 231"/>
            <p:cNvCxnSpPr/>
            <p:nvPr userDrawn="1"/>
          </p:nvCxnSpPr>
          <p:spPr>
            <a:xfrm>
              <a:off x="1595617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Connettore 1 232"/>
            <p:cNvCxnSpPr/>
            <p:nvPr userDrawn="1"/>
          </p:nvCxnSpPr>
          <p:spPr>
            <a:xfrm>
              <a:off x="1610504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Connettore 1 233"/>
            <p:cNvCxnSpPr/>
            <p:nvPr userDrawn="1"/>
          </p:nvCxnSpPr>
          <p:spPr>
            <a:xfrm>
              <a:off x="1625390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Connettore 1 234"/>
            <p:cNvCxnSpPr/>
            <p:nvPr userDrawn="1"/>
          </p:nvCxnSpPr>
          <p:spPr>
            <a:xfrm>
              <a:off x="1640277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Connettore 1 235"/>
            <p:cNvCxnSpPr/>
            <p:nvPr userDrawn="1"/>
          </p:nvCxnSpPr>
          <p:spPr>
            <a:xfrm>
              <a:off x="1655164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Connettore 1 236"/>
            <p:cNvCxnSpPr/>
            <p:nvPr userDrawn="1"/>
          </p:nvCxnSpPr>
          <p:spPr>
            <a:xfrm>
              <a:off x="1670050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Connettore 1 237"/>
            <p:cNvCxnSpPr/>
            <p:nvPr userDrawn="1"/>
          </p:nvCxnSpPr>
          <p:spPr>
            <a:xfrm>
              <a:off x="1684937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Connettore 1 238"/>
            <p:cNvCxnSpPr/>
            <p:nvPr userDrawn="1"/>
          </p:nvCxnSpPr>
          <p:spPr>
            <a:xfrm>
              <a:off x="1699824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Connettore 1 239"/>
            <p:cNvCxnSpPr/>
            <p:nvPr userDrawn="1"/>
          </p:nvCxnSpPr>
          <p:spPr>
            <a:xfrm>
              <a:off x="1714710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Connettore 1 240"/>
            <p:cNvCxnSpPr/>
            <p:nvPr userDrawn="1"/>
          </p:nvCxnSpPr>
          <p:spPr>
            <a:xfrm>
              <a:off x="1729597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Connettore 1 241"/>
            <p:cNvCxnSpPr/>
            <p:nvPr userDrawn="1"/>
          </p:nvCxnSpPr>
          <p:spPr>
            <a:xfrm>
              <a:off x="1744484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Connettore 1 242"/>
            <p:cNvCxnSpPr/>
            <p:nvPr userDrawn="1"/>
          </p:nvCxnSpPr>
          <p:spPr>
            <a:xfrm>
              <a:off x="1759371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Connettore 1 243"/>
            <p:cNvCxnSpPr/>
            <p:nvPr userDrawn="1"/>
          </p:nvCxnSpPr>
          <p:spPr>
            <a:xfrm>
              <a:off x="1774257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Connettore 1 244"/>
            <p:cNvCxnSpPr/>
            <p:nvPr userDrawn="1"/>
          </p:nvCxnSpPr>
          <p:spPr>
            <a:xfrm>
              <a:off x="1789144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Connettore 1 245"/>
            <p:cNvCxnSpPr/>
            <p:nvPr userDrawn="1"/>
          </p:nvCxnSpPr>
          <p:spPr>
            <a:xfrm>
              <a:off x="1804031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Connettore 1 246"/>
            <p:cNvCxnSpPr/>
            <p:nvPr userDrawn="1"/>
          </p:nvCxnSpPr>
          <p:spPr>
            <a:xfrm>
              <a:off x="1818917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Connettore 1 247"/>
            <p:cNvCxnSpPr/>
            <p:nvPr userDrawn="1"/>
          </p:nvCxnSpPr>
          <p:spPr>
            <a:xfrm>
              <a:off x="1833804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Connettore 1 248"/>
            <p:cNvCxnSpPr/>
            <p:nvPr userDrawn="1"/>
          </p:nvCxnSpPr>
          <p:spPr>
            <a:xfrm>
              <a:off x="1848691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Connettore 1 249"/>
            <p:cNvCxnSpPr/>
            <p:nvPr userDrawn="1"/>
          </p:nvCxnSpPr>
          <p:spPr>
            <a:xfrm>
              <a:off x="1863577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Connettore 1 250"/>
            <p:cNvCxnSpPr/>
            <p:nvPr userDrawn="1"/>
          </p:nvCxnSpPr>
          <p:spPr>
            <a:xfrm>
              <a:off x="1878464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Connettore 1 251"/>
            <p:cNvCxnSpPr/>
            <p:nvPr userDrawn="1"/>
          </p:nvCxnSpPr>
          <p:spPr>
            <a:xfrm>
              <a:off x="1893346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54" name="Picture 2" descr="Y:\IMMAGINE _COORDINATA_2014\PPT\modello1\loghi_PNG\03_Polimi_logotipo_bandiera-1riga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2868" y="6346379"/>
            <a:ext cx="2960496" cy="289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634ECEE9-5FCB-0F6C-4CE5-F1B445AECF10}"/>
              </a:ext>
            </a:extLst>
          </p:cNvPr>
          <p:cNvSpPr txBox="1"/>
          <p:nvPr userDrawn="1"/>
        </p:nvSpPr>
        <p:spPr>
          <a:xfrm>
            <a:off x="11506433" y="216893"/>
            <a:ext cx="6075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1093E1E-373D-440B-A6BE-7B183E63C470}" type="slidenum">
              <a:rPr lang="en-GB" smtClean="0">
                <a:solidFill>
                  <a:schemeClr val="bg1"/>
                </a:solidFill>
              </a:rPr>
              <a:t>‹#›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8868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7" name="Immagine 1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9" y="0"/>
            <a:ext cx="12192000" cy="4504944"/>
          </a:xfrm>
          <a:prstGeom prst="rect">
            <a:avLst/>
          </a:prstGeom>
        </p:spPr>
      </p:pic>
      <p:sp>
        <p:nvSpPr>
          <p:cNvPr id="2" name="Rettangolo 1"/>
          <p:cNvSpPr/>
          <p:nvPr userDrawn="1"/>
        </p:nvSpPr>
        <p:spPr>
          <a:xfrm>
            <a:off x="0" y="4258891"/>
            <a:ext cx="12192000" cy="2615070"/>
          </a:xfrm>
          <a:prstGeom prst="rect">
            <a:avLst/>
          </a:prstGeom>
          <a:solidFill>
            <a:srgbClr val="728FA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3" name="Gruppo 2"/>
          <p:cNvGrpSpPr/>
          <p:nvPr userDrawn="1"/>
        </p:nvGrpSpPr>
        <p:grpSpPr>
          <a:xfrm>
            <a:off x="0" y="4267683"/>
            <a:ext cx="12192000" cy="176557"/>
            <a:chOff x="1218340" y="275867"/>
            <a:chExt cx="17715122" cy="567843"/>
          </a:xfrm>
        </p:grpSpPr>
        <p:cxnSp>
          <p:nvCxnSpPr>
            <p:cNvPr id="4" name="Connettore 1 11"/>
            <p:cNvCxnSpPr/>
            <p:nvPr userDrawn="1"/>
          </p:nvCxnSpPr>
          <p:spPr>
            <a:xfrm>
              <a:off x="121834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Connettore 1 12"/>
            <p:cNvCxnSpPr/>
            <p:nvPr userDrawn="1"/>
          </p:nvCxnSpPr>
          <p:spPr>
            <a:xfrm>
              <a:off x="136720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Connettore 1 13"/>
            <p:cNvCxnSpPr/>
            <p:nvPr userDrawn="1"/>
          </p:nvCxnSpPr>
          <p:spPr>
            <a:xfrm>
              <a:off x="151607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ttore 1 14"/>
            <p:cNvCxnSpPr/>
            <p:nvPr userDrawn="1"/>
          </p:nvCxnSpPr>
          <p:spPr>
            <a:xfrm>
              <a:off x="166494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ttore 1 15"/>
            <p:cNvCxnSpPr/>
            <p:nvPr userDrawn="1"/>
          </p:nvCxnSpPr>
          <p:spPr>
            <a:xfrm>
              <a:off x="181380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ttore 1 16"/>
            <p:cNvCxnSpPr/>
            <p:nvPr userDrawn="1"/>
          </p:nvCxnSpPr>
          <p:spPr>
            <a:xfrm>
              <a:off x="196267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ttore 1 17"/>
            <p:cNvCxnSpPr/>
            <p:nvPr userDrawn="1"/>
          </p:nvCxnSpPr>
          <p:spPr>
            <a:xfrm>
              <a:off x="211154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nettore 1 18"/>
            <p:cNvCxnSpPr/>
            <p:nvPr userDrawn="1"/>
          </p:nvCxnSpPr>
          <p:spPr>
            <a:xfrm>
              <a:off x="226040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nettore 1 19"/>
            <p:cNvCxnSpPr/>
            <p:nvPr userDrawn="1"/>
          </p:nvCxnSpPr>
          <p:spPr>
            <a:xfrm>
              <a:off x="240927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ttore 1 20"/>
            <p:cNvCxnSpPr/>
            <p:nvPr userDrawn="1"/>
          </p:nvCxnSpPr>
          <p:spPr>
            <a:xfrm>
              <a:off x="255814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ttore 1 21"/>
            <p:cNvCxnSpPr/>
            <p:nvPr userDrawn="1"/>
          </p:nvCxnSpPr>
          <p:spPr>
            <a:xfrm>
              <a:off x="270701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ttore 1 22"/>
            <p:cNvCxnSpPr/>
            <p:nvPr userDrawn="1"/>
          </p:nvCxnSpPr>
          <p:spPr>
            <a:xfrm>
              <a:off x="285587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ttore 1 23"/>
            <p:cNvCxnSpPr/>
            <p:nvPr userDrawn="1"/>
          </p:nvCxnSpPr>
          <p:spPr>
            <a:xfrm>
              <a:off x="300474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ttore 1 24"/>
            <p:cNvCxnSpPr/>
            <p:nvPr userDrawn="1"/>
          </p:nvCxnSpPr>
          <p:spPr>
            <a:xfrm>
              <a:off x="315361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ttore 1 25"/>
            <p:cNvCxnSpPr/>
            <p:nvPr userDrawn="1"/>
          </p:nvCxnSpPr>
          <p:spPr>
            <a:xfrm>
              <a:off x="330247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ttore 1 26"/>
            <p:cNvCxnSpPr/>
            <p:nvPr userDrawn="1"/>
          </p:nvCxnSpPr>
          <p:spPr>
            <a:xfrm>
              <a:off x="345134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ttore 1 27"/>
            <p:cNvCxnSpPr/>
            <p:nvPr userDrawn="1"/>
          </p:nvCxnSpPr>
          <p:spPr>
            <a:xfrm>
              <a:off x="360021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ttore 1 28"/>
            <p:cNvCxnSpPr/>
            <p:nvPr userDrawn="1"/>
          </p:nvCxnSpPr>
          <p:spPr>
            <a:xfrm>
              <a:off x="374907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ttore 1 29"/>
            <p:cNvCxnSpPr/>
            <p:nvPr userDrawn="1"/>
          </p:nvCxnSpPr>
          <p:spPr>
            <a:xfrm>
              <a:off x="389794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ttore 1 30"/>
            <p:cNvCxnSpPr/>
            <p:nvPr userDrawn="1"/>
          </p:nvCxnSpPr>
          <p:spPr>
            <a:xfrm>
              <a:off x="404681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ttore 1 31"/>
            <p:cNvCxnSpPr/>
            <p:nvPr userDrawn="1"/>
          </p:nvCxnSpPr>
          <p:spPr>
            <a:xfrm>
              <a:off x="419568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ttore 1 32"/>
            <p:cNvCxnSpPr/>
            <p:nvPr userDrawn="1"/>
          </p:nvCxnSpPr>
          <p:spPr>
            <a:xfrm>
              <a:off x="434454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ttore 1 33"/>
            <p:cNvCxnSpPr/>
            <p:nvPr userDrawn="1"/>
          </p:nvCxnSpPr>
          <p:spPr>
            <a:xfrm>
              <a:off x="449341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ttore 1 34"/>
            <p:cNvCxnSpPr/>
            <p:nvPr userDrawn="1"/>
          </p:nvCxnSpPr>
          <p:spPr>
            <a:xfrm>
              <a:off x="464228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ttore 1 35"/>
            <p:cNvCxnSpPr/>
            <p:nvPr userDrawn="1"/>
          </p:nvCxnSpPr>
          <p:spPr>
            <a:xfrm>
              <a:off x="479114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nettore 1 36"/>
            <p:cNvCxnSpPr/>
            <p:nvPr userDrawn="1"/>
          </p:nvCxnSpPr>
          <p:spPr>
            <a:xfrm>
              <a:off x="494001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ttore 1 37"/>
            <p:cNvCxnSpPr/>
            <p:nvPr userDrawn="1"/>
          </p:nvCxnSpPr>
          <p:spPr>
            <a:xfrm>
              <a:off x="508888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nettore 1 38"/>
            <p:cNvCxnSpPr/>
            <p:nvPr userDrawn="1"/>
          </p:nvCxnSpPr>
          <p:spPr>
            <a:xfrm>
              <a:off x="523774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ttore 1 39"/>
            <p:cNvCxnSpPr/>
            <p:nvPr userDrawn="1"/>
          </p:nvCxnSpPr>
          <p:spPr>
            <a:xfrm>
              <a:off x="538661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ttore 1 40"/>
            <p:cNvCxnSpPr/>
            <p:nvPr userDrawn="1"/>
          </p:nvCxnSpPr>
          <p:spPr>
            <a:xfrm>
              <a:off x="553548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ttore 1 41"/>
            <p:cNvCxnSpPr/>
            <p:nvPr userDrawn="1"/>
          </p:nvCxnSpPr>
          <p:spPr>
            <a:xfrm>
              <a:off x="568435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nettore 1 42"/>
            <p:cNvCxnSpPr/>
            <p:nvPr userDrawn="1"/>
          </p:nvCxnSpPr>
          <p:spPr>
            <a:xfrm>
              <a:off x="583321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nettore 1 43"/>
            <p:cNvCxnSpPr/>
            <p:nvPr userDrawn="1"/>
          </p:nvCxnSpPr>
          <p:spPr>
            <a:xfrm>
              <a:off x="598208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nettore 1 44"/>
            <p:cNvCxnSpPr/>
            <p:nvPr userDrawn="1"/>
          </p:nvCxnSpPr>
          <p:spPr>
            <a:xfrm>
              <a:off x="613095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ttore 1 45"/>
            <p:cNvCxnSpPr/>
            <p:nvPr userDrawn="1"/>
          </p:nvCxnSpPr>
          <p:spPr>
            <a:xfrm>
              <a:off x="627981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ttore 1 46"/>
            <p:cNvCxnSpPr/>
            <p:nvPr userDrawn="1"/>
          </p:nvCxnSpPr>
          <p:spPr>
            <a:xfrm>
              <a:off x="642868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nettore 1 47"/>
            <p:cNvCxnSpPr/>
            <p:nvPr userDrawn="1"/>
          </p:nvCxnSpPr>
          <p:spPr>
            <a:xfrm>
              <a:off x="657755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nettore 1 48"/>
            <p:cNvCxnSpPr/>
            <p:nvPr userDrawn="1"/>
          </p:nvCxnSpPr>
          <p:spPr>
            <a:xfrm>
              <a:off x="672641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nettore 1 49"/>
            <p:cNvCxnSpPr/>
            <p:nvPr userDrawn="1"/>
          </p:nvCxnSpPr>
          <p:spPr>
            <a:xfrm>
              <a:off x="687528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nettore 1 50"/>
            <p:cNvCxnSpPr/>
            <p:nvPr userDrawn="1"/>
          </p:nvCxnSpPr>
          <p:spPr>
            <a:xfrm>
              <a:off x="702415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ttore 1 51"/>
            <p:cNvCxnSpPr/>
            <p:nvPr userDrawn="1"/>
          </p:nvCxnSpPr>
          <p:spPr>
            <a:xfrm>
              <a:off x="717302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nettore 1 52"/>
            <p:cNvCxnSpPr/>
            <p:nvPr userDrawn="1"/>
          </p:nvCxnSpPr>
          <p:spPr>
            <a:xfrm>
              <a:off x="732188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Connettore 1 53"/>
            <p:cNvCxnSpPr/>
            <p:nvPr userDrawn="1"/>
          </p:nvCxnSpPr>
          <p:spPr>
            <a:xfrm>
              <a:off x="747075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nettore 1 54"/>
            <p:cNvCxnSpPr/>
            <p:nvPr userDrawn="1"/>
          </p:nvCxnSpPr>
          <p:spPr>
            <a:xfrm>
              <a:off x="761962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ttore 1 55"/>
            <p:cNvCxnSpPr/>
            <p:nvPr userDrawn="1"/>
          </p:nvCxnSpPr>
          <p:spPr>
            <a:xfrm>
              <a:off x="776848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ttore 1 56"/>
            <p:cNvCxnSpPr/>
            <p:nvPr userDrawn="1"/>
          </p:nvCxnSpPr>
          <p:spPr>
            <a:xfrm>
              <a:off x="791735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ttore 1 57"/>
            <p:cNvCxnSpPr/>
            <p:nvPr userDrawn="1"/>
          </p:nvCxnSpPr>
          <p:spPr>
            <a:xfrm>
              <a:off x="806622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ttore 1 58"/>
            <p:cNvCxnSpPr/>
            <p:nvPr userDrawn="1"/>
          </p:nvCxnSpPr>
          <p:spPr>
            <a:xfrm>
              <a:off x="821508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nettore 1 59"/>
            <p:cNvCxnSpPr/>
            <p:nvPr userDrawn="1"/>
          </p:nvCxnSpPr>
          <p:spPr>
            <a:xfrm>
              <a:off x="836395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Connettore 1 60"/>
            <p:cNvCxnSpPr/>
            <p:nvPr userDrawn="1"/>
          </p:nvCxnSpPr>
          <p:spPr>
            <a:xfrm>
              <a:off x="851282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Connettore 1 61"/>
            <p:cNvCxnSpPr/>
            <p:nvPr userDrawn="1"/>
          </p:nvCxnSpPr>
          <p:spPr>
            <a:xfrm>
              <a:off x="866169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Connettore 1 62"/>
            <p:cNvCxnSpPr/>
            <p:nvPr userDrawn="1"/>
          </p:nvCxnSpPr>
          <p:spPr>
            <a:xfrm>
              <a:off x="881055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Connettore 1 63"/>
            <p:cNvCxnSpPr/>
            <p:nvPr userDrawn="1"/>
          </p:nvCxnSpPr>
          <p:spPr>
            <a:xfrm>
              <a:off x="895942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ttore 1 64"/>
            <p:cNvCxnSpPr/>
            <p:nvPr userDrawn="1"/>
          </p:nvCxnSpPr>
          <p:spPr>
            <a:xfrm>
              <a:off x="910829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nettore 1 65"/>
            <p:cNvCxnSpPr/>
            <p:nvPr userDrawn="1"/>
          </p:nvCxnSpPr>
          <p:spPr>
            <a:xfrm>
              <a:off x="925715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nettore 1 66"/>
            <p:cNvCxnSpPr/>
            <p:nvPr userDrawn="1"/>
          </p:nvCxnSpPr>
          <p:spPr>
            <a:xfrm>
              <a:off x="940602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Connettore 1 67"/>
            <p:cNvCxnSpPr/>
            <p:nvPr userDrawn="1"/>
          </p:nvCxnSpPr>
          <p:spPr>
            <a:xfrm>
              <a:off x="955489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Connettore 1 68"/>
            <p:cNvCxnSpPr/>
            <p:nvPr userDrawn="1"/>
          </p:nvCxnSpPr>
          <p:spPr>
            <a:xfrm>
              <a:off x="970375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Connettore 1 69"/>
            <p:cNvCxnSpPr/>
            <p:nvPr userDrawn="1"/>
          </p:nvCxnSpPr>
          <p:spPr>
            <a:xfrm>
              <a:off x="985262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Connettore 1 70"/>
            <p:cNvCxnSpPr/>
            <p:nvPr userDrawn="1"/>
          </p:nvCxnSpPr>
          <p:spPr>
            <a:xfrm>
              <a:off x="1000149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Connettore 1 71"/>
            <p:cNvCxnSpPr/>
            <p:nvPr userDrawn="1"/>
          </p:nvCxnSpPr>
          <p:spPr>
            <a:xfrm>
              <a:off x="1015036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Connettore 1 72"/>
            <p:cNvCxnSpPr/>
            <p:nvPr userDrawn="1"/>
          </p:nvCxnSpPr>
          <p:spPr>
            <a:xfrm>
              <a:off x="1029922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Connettore 1 73"/>
            <p:cNvCxnSpPr/>
            <p:nvPr userDrawn="1"/>
          </p:nvCxnSpPr>
          <p:spPr>
            <a:xfrm>
              <a:off x="1044809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Connettore 1 74"/>
            <p:cNvCxnSpPr/>
            <p:nvPr userDrawn="1"/>
          </p:nvCxnSpPr>
          <p:spPr>
            <a:xfrm>
              <a:off x="1059696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Connettore 1 75"/>
            <p:cNvCxnSpPr/>
            <p:nvPr userDrawn="1"/>
          </p:nvCxnSpPr>
          <p:spPr>
            <a:xfrm>
              <a:off x="1074582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Connettore 1 76"/>
            <p:cNvCxnSpPr/>
            <p:nvPr userDrawn="1"/>
          </p:nvCxnSpPr>
          <p:spPr>
            <a:xfrm>
              <a:off x="1089469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Connettore 1 77"/>
            <p:cNvCxnSpPr/>
            <p:nvPr userDrawn="1"/>
          </p:nvCxnSpPr>
          <p:spPr>
            <a:xfrm>
              <a:off x="1104356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nettore 1 78"/>
            <p:cNvCxnSpPr/>
            <p:nvPr userDrawn="1"/>
          </p:nvCxnSpPr>
          <p:spPr>
            <a:xfrm>
              <a:off x="1119242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nettore 1 79"/>
            <p:cNvCxnSpPr/>
            <p:nvPr userDrawn="1"/>
          </p:nvCxnSpPr>
          <p:spPr>
            <a:xfrm>
              <a:off x="1134129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Connettore 1 80"/>
            <p:cNvCxnSpPr/>
            <p:nvPr userDrawn="1"/>
          </p:nvCxnSpPr>
          <p:spPr>
            <a:xfrm>
              <a:off x="1149016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Connettore 1 81"/>
            <p:cNvCxnSpPr/>
            <p:nvPr userDrawn="1"/>
          </p:nvCxnSpPr>
          <p:spPr>
            <a:xfrm>
              <a:off x="1163903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nettore 1 82"/>
            <p:cNvCxnSpPr/>
            <p:nvPr userDrawn="1"/>
          </p:nvCxnSpPr>
          <p:spPr>
            <a:xfrm>
              <a:off x="1178789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nettore 1 83"/>
            <p:cNvCxnSpPr/>
            <p:nvPr userDrawn="1"/>
          </p:nvCxnSpPr>
          <p:spPr>
            <a:xfrm>
              <a:off x="1193676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nettore 1 84"/>
            <p:cNvCxnSpPr/>
            <p:nvPr userDrawn="1"/>
          </p:nvCxnSpPr>
          <p:spPr>
            <a:xfrm>
              <a:off x="1208563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nettore 1 85"/>
            <p:cNvCxnSpPr/>
            <p:nvPr userDrawn="1"/>
          </p:nvCxnSpPr>
          <p:spPr>
            <a:xfrm>
              <a:off x="1223449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Connettore 1 86"/>
            <p:cNvCxnSpPr/>
            <p:nvPr userDrawn="1"/>
          </p:nvCxnSpPr>
          <p:spPr>
            <a:xfrm>
              <a:off x="1238336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nettore 1 87"/>
            <p:cNvCxnSpPr/>
            <p:nvPr userDrawn="1"/>
          </p:nvCxnSpPr>
          <p:spPr>
            <a:xfrm>
              <a:off x="1253223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ttore 1 88"/>
            <p:cNvCxnSpPr/>
            <p:nvPr userDrawn="1"/>
          </p:nvCxnSpPr>
          <p:spPr>
            <a:xfrm>
              <a:off x="1268109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ttore 1 89"/>
            <p:cNvCxnSpPr/>
            <p:nvPr userDrawn="1"/>
          </p:nvCxnSpPr>
          <p:spPr>
            <a:xfrm>
              <a:off x="1282996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Connettore 1 90"/>
            <p:cNvCxnSpPr/>
            <p:nvPr userDrawn="1"/>
          </p:nvCxnSpPr>
          <p:spPr>
            <a:xfrm>
              <a:off x="1297883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nettore 1 91"/>
            <p:cNvCxnSpPr/>
            <p:nvPr userDrawn="1"/>
          </p:nvCxnSpPr>
          <p:spPr>
            <a:xfrm>
              <a:off x="1312770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Connettore 1 92"/>
            <p:cNvCxnSpPr/>
            <p:nvPr userDrawn="1"/>
          </p:nvCxnSpPr>
          <p:spPr>
            <a:xfrm>
              <a:off x="1327656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Connettore 1 93"/>
            <p:cNvCxnSpPr/>
            <p:nvPr userDrawn="1"/>
          </p:nvCxnSpPr>
          <p:spPr>
            <a:xfrm>
              <a:off x="1342543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Connettore 1 94"/>
            <p:cNvCxnSpPr/>
            <p:nvPr userDrawn="1"/>
          </p:nvCxnSpPr>
          <p:spPr>
            <a:xfrm>
              <a:off x="1357430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Connettore 1 95"/>
            <p:cNvCxnSpPr/>
            <p:nvPr userDrawn="1"/>
          </p:nvCxnSpPr>
          <p:spPr>
            <a:xfrm>
              <a:off x="1372316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Connettore 1 96"/>
            <p:cNvCxnSpPr/>
            <p:nvPr userDrawn="1"/>
          </p:nvCxnSpPr>
          <p:spPr>
            <a:xfrm>
              <a:off x="1387203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Connettore 1 97"/>
            <p:cNvCxnSpPr/>
            <p:nvPr userDrawn="1"/>
          </p:nvCxnSpPr>
          <p:spPr>
            <a:xfrm>
              <a:off x="1402090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Connettore 1 98"/>
            <p:cNvCxnSpPr/>
            <p:nvPr userDrawn="1"/>
          </p:nvCxnSpPr>
          <p:spPr>
            <a:xfrm>
              <a:off x="1416976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Connettore 1 99"/>
            <p:cNvCxnSpPr/>
            <p:nvPr userDrawn="1"/>
          </p:nvCxnSpPr>
          <p:spPr>
            <a:xfrm>
              <a:off x="1431863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Connettore 1 100"/>
            <p:cNvCxnSpPr/>
            <p:nvPr userDrawn="1"/>
          </p:nvCxnSpPr>
          <p:spPr>
            <a:xfrm>
              <a:off x="1446750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Connettore 1 101"/>
            <p:cNvCxnSpPr/>
            <p:nvPr userDrawn="1"/>
          </p:nvCxnSpPr>
          <p:spPr>
            <a:xfrm>
              <a:off x="1461637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Connettore 1 102"/>
            <p:cNvCxnSpPr/>
            <p:nvPr userDrawn="1"/>
          </p:nvCxnSpPr>
          <p:spPr>
            <a:xfrm>
              <a:off x="1476523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Connettore 1 103"/>
            <p:cNvCxnSpPr/>
            <p:nvPr userDrawn="1"/>
          </p:nvCxnSpPr>
          <p:spPr>
            <a:xfrm>
              <a:off x="1491410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Connettore 1 104"/>
            <p:cNvCxnSpPr/>
            <p:nvPr userDrawn="1"/>
          </p:nvCxnSpPr>
          <p:spPr>
            <a:xfrm>
              <a:off x="1506297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Connettore 1 105"/>
            <p:cNvCxnSpPr/>
            <p:nvPr userDrawn="1"/>
          </p:nvCxnSpPr>
          <p:spPr>
            <a:xfrm>
              <a:off x="1521183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Connettore 1 106"/>
            <p:cNvCxnSpPr/>
            <p:nvPr userDrawn="1"/>
          </p:nvCxnSpPr>
          <p:spPr>
            <a:xfrm>
              <a:off x="1536070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Connettore 1 107"/>
            <p:cNvCxnSpPr/>
            <p:nvPr userDrawn="1"/>
          </p:nvCxnSpPr>
          <p:spPr>
            <a:xfrm>
              <a:off x="1550957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Connettore 1 108"/>
            <p:cNvCxnSpPr/>
            <p:nvPr userDrawn="1"/>
          </p:nvCxnSpPr>
          <p:spPr>
            <a:xfrm>
              <a:off x="1565843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Connettore 1 109"/>
            <p:cNvCxnSpPr/>
            <p:nvPr userDrawn="1"/>
          </p:nvCxnSpPr>
          <p:spPr>
            <a:xfrm>
              <a:off x="1580730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Connettore 1 110"/>
            <p:cNvCxnSpPr/>
            <p:nvPr userDrawn="1"/>
          </p:nvCxnSpPr>
          <p:spPr>
            <a:xfrm>
              <a:off x="1595617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Connettore 1 111"/>
            <p:cNvCxnSpPr/>
            <p:nvPr userDrawn="1"/>
          </p:nvCxnSpPr>
          <p:spPr>
            <a:xfrm>
              <a:off x="1610504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Connettore 1 112"/>
            <p:cNvCxnSpPr/>
            <p:nvPr userDrawn="1"/>
          </p:nvCxnSpPr>
          <p:spPr>
            <a:xfrm>
              <a:off x="1625390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Connettore 1 113"/>
            <p:cNvCxnSpPr/>
            <p:nvPr userDrawn="1"/>
          </p:nvCxnSpPr>
          <p:spPr>
            <a:xfrm>
              <a:off x="1640277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Connettore 1 114"/>
            <p:cNvCxnSpPr/>
            <p:nvPr userDrawn="1"/>
          </p:nvCxnSpPr>
          <p:spPr>
            <a:xfrm>
              <a:off x="1655164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Connettore 1 115"/>
            <p:cNvCxnSpPr/>
            <p:nvPr userDrawn="1"/>
          </p:nvCxnSpPr>
          <p:spPr>
            <a:xfrm>
              <a:off x="1670050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Connettore 1 116"/>
            <p:cNvCxnSpPr/>
            <p:nvPr userDrawn="1"/>
          </p:nvCxnSpPr>
          <p:spPr>
            <a:xfrm>
              <a:off x="1684937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nettore 1 117"/>
            <p:cNvCxnSpPr/>
            <p:nvPr userDrawn="1"/>
          </p:nvCxnSpPr>
          <p:spPr>
            <a:xfrm>
              <a:off x="1699824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Connettore 1 118"/>
            <p:cNvCxnSpPr/>
            <p:nvPr userDrawn="1"/>
          </p:nvCxnSpPr>
          <p:spPr>
            <a:xfrm>
              <a:off x="1714710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Connettore 1 119"/>
            <p:cNvCxnSpPr/>
            <p:nvPr userDrawn="1"/>
          </p:nvCxnSpPr>
          <p:spPr>
            <a:xfrm>
              <a:off x="1729597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Connettore 1 120"/>
            <p:cNvCxnSpPr/>
            <p:nvPr userDrawn="1"/>
          </p:nvCxnSpPr>
          <p:spPr>
            <a:xfrm>
              <a:off x="17444843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nettore 1 121"/>
            <p:cNvCxnSpPr/>
            <p:nvPr userDrawn="1"/>
          </p:nvCxnSpPr>
          <p:spPr>
            <a:xfrm>
              <a:off x="17593710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Connettore 1 122"/>
            <p:cNvCxnSpPr/>
            <p:nvPr userDrawn="1"/>
          </p:nvCxnSpPr>
          <p:spPr>
            <a:xfrm>
              <a:off x="17742577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Connettore 1 123"/>
            <p:cNvCxnSpPr/>
            <p:nvPr userDrawn="1"/>
          </p:nvCxnSpPr>
          <p:spPr>
            <a:xfrm>
              <a:off x="17891444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Connettore 1 124"/>
            <p:cNvCxnSpPr/>
            <p:nvPr userDrawn="1"/>
          </p:nvCxnSpPr>
          <p:spPr>
            <a:xfrm>
              <a:off x="18040311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Connettore 1 125"/>
            <p:cNvCxnSpPr/>
            <p:nvPr userDrawn="1"/>
          </p:nvCxnSpPr>
          <p:spPr>
            <a:xfrm>
              <a:off x="18189178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Connettore 1 126"/>
            <p:cNvCxnSpPr/>
            <p:nvPr userDrawn="1"/>
          </p:nvCxnSpPr>
          <p:spPr>
            <a:xfrm>
              <a:off x="18338045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Connettore 1 127"/>
            <p:cNvCxnSpPr/>
            <p:nvPr userDrawn="1"/>
          </p:nvCxnSpPr>
          <p:spPr>
            <a:xfrm>
              <a:off x="1848691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Connettore 1 128"/>
            <p:cNvCxnSpPr/>
            <p:nvPr userDrawn="1"/>
          </p:nvCxnSpPr>
          <p:spPr>
            <a:xfrm>
              <a:off x="18635779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Connettore 1 129"/>
            <p:cNvCxnSpPr/>
            <p:nvPr userDrawn="1"/>
          </p:nvCxnSpPr>
          <p:spPr>
            <a:xfrm>
              <a:off x="18784646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Connettore 1 130"/>
            <p:cNvCxnSpPr/>
            <p:nvPr userDrawn="1"/>
          </p:nvCxnSpPr>
          <p:spPr>
            <a:xfrm>
              <a:off x="18933462" y="275867"/>
              <a:ext cx="0" cy="567843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5" name="Picture 4" descr="Y:\IMMAGINE _COORDINATA_2014\LOGO_UFFICIALE\01_Polimi_centrato\eps\01_Polimi_centrato_COL_negativo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2246" y="2530701"/>
            <a:ext cx="2133600" cy="1573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8054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6C254FB-65B7-AAF7-71DD-9129C07084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06675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6C254FB-65B7-AAF7-71DD-9129C07084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384695" y="139166"/>
            <a:ext cx="11441391" cy="840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85793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119611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1" r:id="rId2"/>
  </p:sldLayoutIdLst>
  <p:hf hdr="0" ftr="0" dt="0"/>
  <p:txStyles>
    <p:titleStyle>
      <a:lvl1pPr marL="0" indent="0" algn="l" defTabSz="457200" rtl="0" eaLnBrk="1" latinLnBrk="0" hangingPunct="1">
        <a:spcBef>
          <a:spcPct val="0"/>
        </a:spcBef>
        <a:buNone/>
        <a:defRPr sz="2200" b="1" kern="120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Wingdings" charset="2"/>
        <a:buNone/>
        <a:defRPr sz="2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2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2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customXml" Target="../ink/ink4.xml"/><Relationship Id="rId7" Type="http://schemas.openxmlformats.org/officeDocument/2006/relationships/customXml" Target="../ink/ink6.xml"/><Relationship Id="rId12" Type="http://schemas.openxmlformats.org/officeDocument/2006/relationships/image" Target="../media/image49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png"/><Relationship Id="rId11" Type="http://schemas.openxmlformats.org/officeDocument/2006/relationships/image" Target="../media/image48.png"/><Relationship Id="rId5" Type="http://schemas.openxmlformats.org/officeDocument/2006/relationships/customXml" Target="../ink/ink5.xml"/><Relationship Id="rId10" Type="http://schemas.openxmlformats.org/officeDocument/2006/relationships/image" Target="../media/image47.jpeg"/><Relationship Id="rId4" Type="http://schemas.openxmlformats.org/officeDocument/2006/relationships/image" Target="../media/image45.png"/><Relationship Id="rId9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50.png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5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5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8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6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4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6.sv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5.png"/><Relationship Id="rId11" Type="http://schemas.openxmlformats.org/officeDocument/2006/relationships/image" Target="../media/image68.svg"/><Relationship Id="rId5" Type="http://schemas.openxmlformats.org/officeDocument/2006/relationships/image" Target="../media/image1.emf"/><Relationship Id="rId10" Type="http://schemas.openxmlformats.org/officeDocument/2006/relationships/image" Target="../media/image67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5.sv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0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svg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2.jpeg"/><Relationship Id="rId7" Type="http://schemas.openxmlformats.org/officeDocument/2006/relationships/customXml" Target="../ink/ink1.xml"/><Relationship Id="rId12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png"/><Relationship Id="rId11" Type="http://schemas.openxmlformats.org/officeDocument/2006/relationships/customXml" Target="../ink/ink3.xml"/><Relationship Id="rId5" Type="http://schemas.openxmlformats.org/officeDocument/2006/relationships/image" Target="../media/image34.jpeg"/><Relationship Id="rId10" Type="http://schemas.openxmlformats.org/officeDocument/2006/relationships/image" Target="../media/image37.png"/><Relationship Id="rId4" Type="http://schemas.openxmlformats.org/officeDocument/2006/relationships/image" Target="../media/image33.jpeg"/><Relationship Id="rId9" Type="http://schemas.openxmlformats.org/officeDocument/2006/relationships/customXml" Target="../ink/ink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21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1.png"/><Relationship Id="rId11" Type="http://schemas.openxmlformats.org/officeDocument/2006/relationships/image" Target="../media/image44.png"/><Relationship Id="rId5" Type="http://schemas.openxmlformats.org/officeDocument/2006/relationships/image" Target="../media/image40.png"/><Relationship Id="rId10" Type="http://schemas.openxmlformats.org/officeDocument/2006/relationships/image" Target="../media/image11.svg"/><Relationship Id="rId4" Type="http://schemas.openxmlformats.org/officeDocument/2006/relationships/image" Target="../media/image39.png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4"/>
          <p:cNvSpPr>
            <a:spLocks noGrp="1"/>
          </p:cNvSpPr>
          <p:nvPr>
            <p:ph type="ctrTitle" idx="4294967295"/>
          </p:nvPr>
        </p:nvSpPr>
        <p:spPr>
          <a:xfrm>
            <a:off x="2209800" y="4749416"/>
            <a:ext cx="7772400" cy="1135356"/>
          </a:xfrm>
        </p:spPr>
        <p:txBody>
          <a:bodyPr>
            <a:noAutofit/>
          </a:bodyPr>
          <a:lstStyle/>
          <a:p>
            <a:pPr algn="ctr"/>
            <a:r>
              <a:rPr lang="it-IT" sz="2000"/>
              <a:t>Project 5:</a:t>
            </a:r>
            <a:br>
              <a:rPr lang="it-IT" sz="2000"/>
            </a:br>
            <a:r>
              <a:rPr lang="it-IT" sz="2000" err="1"/>
              <a:t>Sleep</a:t>
            </a:r>
            <a:r>
              <a:rPr lang="it-IT" sz="2000"/>
              <a:t> Position </a:t>
            </a:r>
            <a:r>
              <a:rPr lang="it-IT" sz="2000" err="1"/>
              <a:t>Classifier</a:t>
            </a:r>
            <a:endParaRPr lang="it-IT" sz="2000"/>
          </a:p>
        </p:txBody>
      </p:sp>
      <p:sp>
        <p:nvSpPr>
          <p:cNvPr id="11" name="Sottotitolo 10"/>
          <p:cNvSpPr>
            <a:spLocks noGrp="1"/>
          </p:cNvSpPr>
          <p:nvPr>
            <p:ph type="subTitle" idx="4294967295"/>
          </p:nvPr>
        </p:nvSpPr>
        <p:spPr>
          <a:xfrm>
            <a:off x="2127434" y="6333866"/>
            <a:ext cx="7772400" cy="393699"/>
          </a:xfrm>
        </p:spPr>
        <p:txBody>
          <a:bodyPr>
            <a:normAutofit/>
          </a:bodyPr>
          <a:lstStyle/>
          <a:p>
            <a:pPr algn="ctr"/>
            <a:r>
              <a:rPr lang="it-IT" sz="1400">
                <a:solidFill>
                  <a:schemeClr val="bg1"/>
                </a:solidFill>
              </a:rPr>
              <a:t>Milan, 14 July 2022</a:t>
            </a:r>
          </a:p>
          <a:p>
            <a:endParaRPr lang="it-IT" sz="180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F8A58723-CF68-4B39-9651-82A458DB5BD8}"/>
              </a:ext>
            </a:extLst>
          </p:cNvPr>
          <p:cNvSpPr txBox="1"/>
          <p:nvPr/>
        </p:nvSpPr>
        <p:spPr>
          <a:xfrm>
            <a:off x="65697" y="5676094"/>
            <a:ext cx="26773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simo Alfonzo</a:t>
            </a:r>
          </a:p>
          <a:p>
            <a:r>
              <a:rPr lang="it-IT"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loé </a:t>
            </a:r>
            <a:r>
              <a:rPr lang="it-IT" sz="20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avate</a:t>
            </a:r>
            <a:endParaRPr lang="it-IT" sz="20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rick </a:t>
            </a:r>
            <a:r>
              <a:rPr lang="it-IT" sz="20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nke</a:t>
            </a:r>
            <a:endParaRPr lang="it-IT" sz="20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E80F0972-A09C-4A26-BF72-12D2B527078A}"/>
              </a:ext>
            </a:extLst>
          </p:cNvPr>
          <p:cNvSpPr txBox="1"/>
          <p:nvPr/>
        </p:nvSpPr>
        <p:spPr>
          <a:xfrm>
            <a:off x="7543800" y="6033985"/>
            <a:ext cx="458250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tor: Giulia Alessandrelli</a:t>
            </a:r>
          </a:p>
          <a:p>
            <a:pPr algn="r"/>
            <a:r>
              <a:rPr lang="it-IT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or: Pietro </a:t>
            </a:r>
            <a:r>
              <a:rPr lang="it-IT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veri</a:t>
            </a:r>
            <a:endParaRPr lang="it-IT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endParaRPr lang="it-IT" sz="1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38926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6785AE7-8B00-486C-9A8C-F571C9317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/>
              <a:t>Data acquisition protocol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482C885E-E343-C09D-85B0-300257930BDE}"/>
              </a:ext>
            </a:extLst>
          </p:cNvPr>
          <p:cNvSpPr txBox="1"/>
          <p:nvPr/>
        </p:nvSpPr>
        <p:spPr>
          <a:xfrm>
            <a:off x="154215" y="6292352"/>
            <a:ext cx="4722312" cy="369332"/>
          </a:xfrm>
          <a:prstGeom prst="rect">
            <a:avLst/>
          </a:prstGeom>
          <a:solidFill>
            <a:srgbClr val="728FA5"/>
          </a:solidFill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M. Alfonzo, C. </a:t>
            </a:r>
            <a:r>
              <a:rPr lang="it-IT" err="1">
                <a:solidFill>
                  <a:schemeClr val="bg1"/>
                </a:solidFill>
              </a:rPr>
              <a:t>Canavate</a:t>
            </a:r>
            <a:r>
              <a:rPr lang="it-IT">
                <a:solidFill>
                  <a:schemeClr val="bg1"/>
                </a:solidFill>
              </a:rPr>
              <a:t>, P. </a:t>
            </a:r>
            <a:r>
              <a:rPr lang="it-IT" err="1">
                <a:solidFill>
                  <a:schemeClr val="bg1"/>
                </a:solidFill>
              </a:rPr>
              <a:t>Franke</a:t>
            </a:r>
            <a:endParaRPr lang="it-IT">
              <a:solidFill>
                <a:schemeClr val="bg1"/>
              </a:solidFill>
            </a:endParaRP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DE387D04-1D2C-62E3-2F4B-BFA984F89C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263" r="26348"/>
          <a:stretch/>
        </p:blipFill>
        <p:spPr bwMode="auto">
          <a:xfrm>
            <a:off x="926472" y="2459890"/>
            <a:ext cx="1360714" cy="2933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ttangolo con angoli arrotondati 59">
            <a:extLst>
              <a:ext uri="{FF2B5EF4-FFF2-40B4-BE49-F238E27FC236}">
                <a16:creationId xmlns:a16="http://schemas.microsoft.com/office/drawing/2014/main" id="{9529667F-364D-E919-A730-221723A84C73}"/>
              </a:ext>
            </a:extLst>
          </p:cNvPr>
          <p:cNvSpPr/>
          <p:nvPr/>
        </p:nvSpPr>
        <p:spPr>
          <a:xfrm>
            <a:off x="1602966" y="4921673"/>
            <a:ext cx="195943" cy="143838"/>
          </a:xfrm>
          <a:prstGeom prst="roundRect">
            <a:avLst/>
          </a:prstGeom>
          <a:solidFill>
            <a:srgbClr val="FF00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2" name="Input penna 2">
                <a:extLst>
                  <a:ext uri="{FF2B5EF4-FFF2-40B4-BE49-F238E27FC236}">
                    <a16:creationId xmlns:a16="http://schemas.microsoft.com/office/drawing/2014/main" id="{F7F7F897-C55A-4C88-D858-311CACE3AED1}"/>
                  </a:ext>
                </a:extLst>
              </p14:cNvPr>
              <p14:cNvContentPartPr/>
              <p14:nvPr/>
            </p14:nvContentPartPr>
            <p14:xfrm>
              <a:off x="1216336" y="3188328"/>
              <a:ext cx="287077" cy="360"/>
            </p14:xfrm>
          </p:contentPart>
        </mc:Choice>
        <mc:Fallback>
          <p:pic>
            <p:nvPicPr>
              <p:cNvPr id="12" name="Input penna 2">
                <a:extLst>
                  <a:ext uri="{FF2B5EF4-FFF2-40B4-BE49-F238E27FC236}">
                    <a16:creationId xmlns:a16="http://schemas.microsoft.com/office/drawing/2014/main" id="{F7F7F897-C55A-4C88-D858-311CACE3AED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207342" y="3179328"/>
                <a:ext cx="304705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13" name="Input penna 6">
                <a:extLst>
                  <a:ext uri="{FF2B5EF4-FFF2-40B4-BE49-F238E27FC236}">
                    <a16:creationId xmlns:a16="http://schemas.microsoft.com/office/drawing/2014/main" id="{CEB2F0FF-B2F8-F5F3-85EE-4647E690D659}"/>
                  </a:ext>
                </a:extLst>
              </p14:cNvPr>
              <p14:cNvContentPartPr/>
              <p14:nvPr/>
            </p14:nvContentPartPr>
            <p14:xfrm>
              <a:off x="848821" y="3708072"/>
              <a:ext cx="360" cy="360"/>
            </p14:xfrm>
          </p:contentPart>
        </mc:Choice>
        <mc:Fallback>
          <p:pic>
            <p:nvPicPr>
              <p:cNvPr id="13" name="Input penna 6">
                <a:extLst>
                  <a:ext uri="{FF2B5EF4-FFF2-40B4-BE49-F238E27FC236}">
                    <a16:creationId xmlns:a16="http://schemas.microsoft.com/office/drawing/2014/main" id="{CEB2F0FF-B2F8-F5F3-85EE-4647E690D659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39821" y="3699072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14" name="Input penna 15">
                <a:extLst>
                  <a:ext uri="{FF2B5EF4-FFF2-40B4-BE49-F238E27FC236}">
                    <a16:creationId xmlns:a16="http://schemas.microsoft.com/office/drawing/2014/main" id="{284F72BB-18D1-6557-280C-18C8200BE560}"/>
                  </a:ext>
                </a:extLst>
              </p14:cNvPr>
              <p14:cNvContentPartPr/>
              <p14:nvPr/>
            </p14:nvContentPartPr>
            <p14:xfrm>
              <a:off x="1690711" y="3188328"/>
              <a:ext cx="265366" cy="360"/>
            </p14:xfrm>
          </p:contentPart>
        </mc:Choice>
        <mc:Fallback>
          <p:pic>
            <p:nvPicPr>
              <p:cNvPr id="14" name="Input penna 15">
                <a:extLst>
                  <a:ext uri="{FF2B5EF4-FFF2-40B4-BE49-F238E27FC236}">
                    <a16:creationId xmlns:a16="http://schemas.microsoft.com/office/drawing/2014/main" id="{284F72BB-18D1-6557-280C-18C8200BE560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681722" y="3179328"/>
                <a:ext cx="282985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Rettangolo con angoli arrotondati 9">
            <a:extLst>
              <a:ext uri="{FF2B5EF4-FFF2-40B4-BE49-F238E27FC236}">
                <a16:creationId xmlns:a16="http://schemas.microsoft.com/office/drawing/2014/main" id="{BA9B2F38-66C4-8F57-281E-16E1036E287F}"/>
              </a:ext>
            </a:extLst>
          </p:cNvPr>
          <p:cNvSpPr/>
          <p:nvPr/>
        </p:nvSpPr>
        <p:spPr>
          <a:xfrm>
            <a:off x="1503414" y="3128441"/>
            <a:ext cx="195943" cy="143838"/>
          </a:xfrm>
          <a:prstGeom prst="roundRect">
            <a:avLst/>
          </a:prstGeom>
          <a:solidFill>
            <a:srgbClr val="FF00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7" name="Immagine 8">
            <a:extLst>
              <a:ext uri="{FF2B5EF4-FFF2-40B4-BE49-F238E27FC236}">
                <a16:creationId xmlns:a16="http://schemas.microsoft.com/office/drawing/2014/main" id="{9C4D0B2D-CE43-6508-9F80-A804F6991A0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865"/>
          <a:stretch/>
        </p:blipFill>
        <p:spPr>
          <a:xfrm>
            <a:off x="1529178" y="3127482"/>
            <a:ext cx="144906" cy="143118"/>
          </a:xfrm>
          <a:prstGeom prst="rect">
            <a:avLst/>
          </a:prstGeom>
        </p:spPr>
      </p:pic>
      <p:pic>
        <p:nvPicPr>
          <p:cNvPr id="16" name="Immagine 8">
            <a:extLst>
              <a:ext uri="{FF2B5EF4-FFF2-40B4-BE49-F238E27FC236}">
                <a16:creationId xmlns:a16="http://schemas.microsoft.com/office/drawing/2014/main" id="{F6EA53AA-407B-FDF3-09FC-E28335A0070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865"/>
          <a:stretch/>
        </p:blipFill>
        <p:spPr>
          <a:xfrm>
            <a:off x="1631324" y="4919755"/>
            <a:ext cx="147577" cy="145756"/>
          </a:xfrm>
          <a:prstGeom prst="rect">
            <a:avLst/>
          </a:prstGeom>
        </p:spPr>
      </p:pic>
      <p:pic>
        <p:nvPicPr>
          <p:cNvPr id="24" name="Immagine 8">
            <a:extLst>
              <a:ext uri="{FF2B5EF4-FFF2-40B4-BE49-F238E27FC236}">
                <a16:creationId xmlns:a16="http://schemas.microsoft.com/office/drawing/2014/main" id="{01173C8E-4076-12E0-EC9B-BECB23079DE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865"/>
          <a:stretch/>
        </p:blipFill>
        <p:spPr>
          <a:xfrm>
            <a:off x="3040678" y="3674058"/>
            <a:ext cx="605197" cy="597735"/>
          </a:xfrm>
          <a:prstGeom prst="rect">
            <a:avLst/>
          </a:prstGeom>
        </p:spPr>
      </p:pic>
      <p:sp>
        <p:nvSpPr>
          <p:cNvPr id="3" name="Ellipse 2">
            <a:extLst>
              <a:ext uri="{FF2B5EF4-FFF2-40B4-BE49-F238E27FC236}">
                <a16:creationId xmlns:a16="http://schemas.microsoft.com/office/drawing/2014/main" id="{04B6121C-0805-EEDA-0808-D0394BAF6476}"/>
              </a:ext>
            </a:extLst>
          </p:cNvPr>
          <p:cNvSpPr/>
          <p:nvPr/>
        </p:nvSpPr>
        <p:spPr>
          <a:xfrm>
            <a:off x="1364099" y="2977507"/>
            <a:ext cx="474572" cy="461665"/>
          </a:xfrm>
          <a:prstGeom prst="ellipse">
            <a:avLst/>
          </a:prstGeom>
          <a:noFill/>
          <a:ln w="38100">
            <a:solidFill>
              <a:schemeClr val="tx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32607D59-4974-5BD3-0771-87E10EFBD250}"/>
              </a:ext>
            </a:extLst>
          </p:cNvPr>
          <p:cNvCxnSpPr>
            <a:cxnSpLocks/>
          </p:cNvCxnSpPr>
          <p:nvPr/>
        </p:nvCxnSpPr>
        <p:spPr>
          <a:xfrm flipV="1">
            <a:off x="1838671" y="2792424"/>
            <a:ext cx="1842123" cy="330143"/>
          </a:xfrm>
          <a:prstGeom prst="line">
            <a:avLst/>
          </a:prstGeom>
          <a:ln w="38100"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Ellipse 21">
            <a:extLst>
              <a:ext uri="{FF2B5EF4-FFF2-40B4-BE49-F238E27FC236}">
                <a16:creationId xmlns:a16="http://schemas.microsoft.com/office/drawing/2014/main" id="{4C05FCCA-37CD-1593-8F8B-647E093F3421}"/>
              </a:ext>
            </a:extLst>
          </p:cNvPr>
          <p:cNvSpPr/>
          <p:nvPr/>
        </p:nvSpPr>
        <p:spPr>
          <a:xfrm>
            <a:off x="1462071" y="4761800"/>
            <a:ext cx="474572" cy="461665"/>
          </a:xfrm>
          <a:prstGeom prst="ellipse">
            <a:avLst/>
          </a:prstGeom>
          <a:noFill/>
          <a:ln w="38100">
            <a:solidFill>
              <a:schemeClr val="tx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E61A692C-0EAD-B93B-00B1-9C7855F6A525}"/>
              </a:ext>
            </a:extLst>
          </p:cNvPr>
          <p:cNvCxnSpPr>
            <a:cxnSpLocks/>
          </p:cNvCxnSpPr>
          <p:nvPr/>
        </p:nvCxnSpPr>
        <p:spPr>
          <a:xfrm flipV="1">
            <a:off x="1936643" y="4986538"/>
            <a:ext cx="1744151" cy="6094"/>
          </a:xfrm>
          <a:prstGeom prst="line">
            <a:avLst/>
          </a:prstGeom>
          <a:ln w="38100"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CasellaDiTesto 56">
            <a:extLst>
              <a:ext uri="{FF2B5EF4-FFF2-40B4-BE49-F238E27FC236}">
                <a16:creationId xmlns:a16="http://schemas.microsoft.com/office/drawing/2014/main" id="{F66BF29B-7007-7A96-F97F-C921D75D2913}"/>
              </a:ext>
            </a:extLst>
          </p:cNvPr>
          <p:cNvSpPr txBox="1"/>
          <p:nvPr/>
        </p:nvSpPr>
        <p:spPr>
          <a:xfrm>
            <a:off x="2707507" y="3294348"/>
            <a:ext cx="12881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/>
              <a:t>Orientation</a:t>
            </a:r>
          </a:p>
        </p:txBody>
      </p:sp>
      <p:sp>
        <p:nvSpPr>
          <p:cNvPr id="26" name="CasellaDiTesto 56">
            <a:extLst>
              <a:ext uri="{FF2B5EF4-FFF2-40B4-BE49-F238E27FC236}">
                <a16:creationId xmlns:a16="http://schemas.microsoft.com/office/drawing/2014/main" id="{DD970476-5A20-16CF-7E68-A0D3FABEBF49}"/>
              </a:ext>
            </a:extLst>
          </p:cNvPr>
          <p:cNvSpPr txBox="1"/>
          <p:nvPr/>
        </p:nvSpPr>
        <p:spPr>
          <a:xfrm>
            <a:off x="3820107" y="2542084"/>
            <a:ext cx="24926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/>
              <a:t>Place 1st accelerometer</a:t>
            </a:r>
          </a:p>
          <a:p>
            <a:r>
              <a:rPr lang="it-IT"/>
              <a:t>on top of the chest</a:t>
            </a:r>
            <a:endParaRPr lang="it-IT" b="1"/>
          </a:p>
        </p:txBody>
      </p:sp>
      <p:sp>
        <p:nvSpPr>
          <p:cNvPr id="27" name="CasellaDiTesto 56">
            <a:extLst>
              <a:ext uri="{FF2B5EF4-FFF2-40B4-BE49-F238E27FC236}">
                <a16:creationId xmlns:a16="http://schemas.microsoft.com/office/drawing/2014/main" id="{C97D663B-AE8B-8831-E5B3-DB0B71D3CA8E}"/>
              </a:ext>
            </a:extLst>
          </p:cNvPr>
          <p:cNvSpPr txBox="1"/>
          <p:nvPr/>
        </p:nvSpPr>
        <p:spPr>
          <a:xfrm>
            <a:off x="3378321" y="4549035"/>
            <a:ext cx="327720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it-IT"/>
              <a:t>Place 2nd accelerometer on the left ankle, on top of the external malleolus</a:t>
            </a:r>
          </a:p>
        </p:txBody>
      </p:sp>
      <p:pic>
        <p:nvPicPr>
          <p:cNvPr id="2050" name="Picture 2" descr="People vector icon. person symbol. work group team, persons crowd dipinti  da parete • quadri icona, pubblico, direzione | myloview.it">
            <a:extLst>
              <a:ext uri="{FF2B5EF4-FFF2-40B4-BE49-F238E27FC236}">
                <a16:creationId xmlns:a16="http://schemas.microsoft.com/office/drawing/2014/main" id="{C59B3682-38F3-42F6-E2A7-DADCCD8041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39" t="16810" r="19656" b="15750"/>
          <a:stretch/>
        </p:blipFill>
        <p:spPr bwMode="auto">
          <a:xfrm>
            <a:off x="7982391" y="2514601"/>
            <a:ext cx="749156" cy="794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CasellaDiTesto 56">
            <a:extLst>
              <a:ext uri="{FF2B5EF4-FFF2-40B4-BE49-F238E27FC236}">
                <a16:creationId xmlns:a16="http://schemas.microsoft.com/office/drawing/2014/main" id="{BC70B79E-92F8-2658-9D7C-408EA43F6A9F}"/>
              </a:ext>
            </a:extLst>
          </p:cNvPr>
          <p:cNvSpPr txBox="1"/>
          <p:nvPr/>
        </p:nvSpPr>
        <p:spPr>
          <a:xfrm>
            <a:off x="9117361" y="2727085"/>
            <a:ext cx="20287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/>
              <a:t>At least 10</a:t>
            </a:r>
            <a:r>
              <a:rPr lang="it-IT"/>
              <a:t> people</a:t>
            </a:r>
            <a:endParaRPr lang="it-IT" b="1"/>
          </a:p>
        </p:txBody>
      </p:sp>
      <p:pic>
        <p:nvPicPr>
          <p:cNvPr id="53" name="Graphique 52" descr="Chronomètre avec un remplissage uni">
            <a:extLst>
              <a:ext uri="{FF2B5EF4-FFF2-40B4-BE49-F238E27FC236}">
                <a16:creationId xmlns:a16="http://schemas.microsoft.com/office/drawing/2014/main" id="{33F9E779-A653-7DD3-B00B-FB6671B7E9E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950573" y="4125435"/>
            <a:ext cx="794320" cy="794320"/>
          </a:xfrm>
          <a:prstGeom prst="rect">
            <a:avLst/>
          </a:prstGeom>
        </p:spPr>
      </p:pic>
      <p:sp>
        <p:nvSpPr>
          <p:cNvPr id="55" name="CasellaDiTesto 56">
            <a:extLst>
              <a:ext uri="{FF2B5EF4-FFF2-40B4-BE49-F238E27FC236}">
                <a16:creationId xmlns:a16="http://schemas.microsoft.com/office/drawing/2014/main" id="{88DB3279-B80C-4250-211C-0723FCBB46D4}"/>
              </a:ext>
            </a:extLst>
          </p:cNvPr>
          <p:cNvSpPr txBox="1"/>
          <p:nvPr/>
        </p:nvSpPr>
        <p:spPr>
          <a:xfrm>
            <a:off x="8889318" y="4000519"/>
            <a:ext cx="2484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/>
              <a:t>1 </a:t>
            </a:r>
            <a:r>
              <a:rPr lang="it-IT"/>
              <a:t>minute each position</a:t>
            </a:r>
          </a:p>
        </p:txBody>
      </p:sp>
      <p:cxnSp>
        <p:nvCxnSpPr>
          <p:cNvPr id="56" name="Connecteur droit 55">
            <a:extLst>
              <a:ext uri="{FF2B5EF4-FFF2-40B4-BE49-F238E27FC236}">
                <a16:creationId xmlns:a16="http://schemas.microsoft.com/office/drawing/2014/main" id="{764F80F5-C114-7096-A609-37608C5098C2}"/>
              </a:ext>
            </a:extLst>
          </p:cNvPr>
          <p:cNvCxnSpPr>
            <a:cxnSpLocks/>
          </p:cNvCxnSpPr>
          <p:nvPr/>
        </p:nvCxnSpPr>
        <p:spPr>
          <a:xfrm>
            <a:off x="666063" y="2459890"/>
            <a:ext cx="0" cy="3205619"/>
          </a:xfrm>
          <a:prstGeom prst="line">
            <a:avLst/>
          </a:prstGeom>
          <a:ln w="9525"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Connecteur droit 57">
            <a:extLst>
              <a:ext uri="{FF2B5EF4-FFF2-40B4-BE49-F238E27FC236}">
                <a16:creationId xmlns:a16="http://schemas.microsoft.com/office/drawing/2014/main" id="{4FD62ACB-658D-EFF1-B151-865F5C3140C5}"/>
              </a:ext>
            </a:extLst>
          </p:cNvPr>
          <p:cNvCxnSpPr>
            <a:cxnSpLocks/>
          </p:cNvCxnSpPr>
          <p:nvPr/>
        </p:nvCxnSpPr>
        <p:spPr>
          <a:xfrm>
            <a:off x="7630180" y="2459890"/>
            <a:ext cx="0" cy="32056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Flèche : pentagone 61">
            <a:extLst>
              <a:ext uri="{FF2B5EF4-FFF2-40B4-BE49-F238E27FC236}">
                <a16:creationId xmlns:a16="http://schemas.microsoft.com/office/drawing/2014/main" id="{D7E6EC55-01B1-FD59-DF62-90E84E4459D6}"/>
              </a:ext>
            </a:extLst>
          </p:cNvPr>
          <p:cNvSpPr/>
          <p:nvPr/>
        </p:nvSpPr>
        <p:spPr>
          <a:xfrm>
            <a:off x="443979" y="1600397"/>
            <a:ext cx="3236815" cy="577104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CasellaDiTesto 56">
            <a:extLst>
              <a:ext uri="{FF2B5EF4-FFF2-40B4-BE49-F238E27FC236}">
                <a16:creationId xmlns:a16="http://schemas.microsoft.com/office/drawing/2014/main" id="{52B19294-94D7-B587-3BA9-568E34428737}"/>
              </a:ext>
            </a:extLst>
          </p:cNvPr>
          <p:cNvSpPr txBox="1"/>
          <p:nvPr/>
        </p:nvSpPr>
        <p:spPr>
          <a:xfrm>
            <a:off x="727695" y="1696666"/>
            <a:ext cx="24178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>
                <a:solidFill>
                  <a:schemeClr val="bg1"/>
                </a:solidFill>
              </a:rPr>
              <a:t>Body placements</a:t>
            </a:r>
          </a:p>
        </p:txBody>
      </p:sp>
      <p:cxnSp>
        <p:nvCxnSpPr>
          <p:cNvPr id="63" name="Connecteur droit 62">
            <a:extLst>
              <a:ext uri="{FF2B5EF4-FFF2-40B4-BE49-F238E27FC236}">
                <a16:creationId xmlns:a16="http://schemas.microsoft.com/office/drawing/2014/main" id="{12411EEB-B0DA-5836-3761-DE608D34571B}"/>
              </a:ext>
            </a:extLst>
          </p:cNvPr>
          <p:cNvCxnSpPr>
            <a:cxnSpLocks/>
          </p:cNvCxnSpPr>
          <p:nvPr/>
        </p:nvCxnSpPr>
        <p:spPr>
          <a:xfrm>
            <a:off x="666063" y="5665509"/>
            <a:ext cx="6127423" cy="0"/>
          </a:xfrm>
          <a:prstGeom prst="line">
            <a:avLst/>
          </a:prstGeom>
          <a:ln w="9525"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Flèche : pentagone 67">
            <a:extLst>
              <a:ext uri="{FF2B5EF4-FFF2-40B4-BE49-F238E27FC236}">
                <a16:creationId xmlns:a16="http://schemas.microsoft.com/office/drawing/2014/main" id="{41DF8B09-7781-CF35-8309-E0A5E3FD4263}"/>
              </a:ext>
            </a:extLst>
          </p:cNvPr>
          <p:cNvSpPr/>
          <p:nvPr/>
        </p:nvSpPr>
        <p:spPr>
          <a:xfrm>
            <a:off x="7373176" y="1586056"/>
            <a:ext cx="3236815" cy="577104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CasellaDiTesto 56">
            <a:extLst>
              <a:ext uri="{FF2B5EF4-FFF2-40B4-BE49-F238E27FC236}">
                <a16:creationId xmlns:a16="http://schemas.microsoft.com/office/drawing/2014/main" id="{3007CD3B-B56C-339E-75B4-474BB53F3924}"/>
              </a:ext>
            </a:extLst>
          </p:cNvPr>
          <p:cNvSpPr txBox="1"/>
          <p:nvPr/>
        </p:nvSpPr>
        <p:spPr>
          <a:xfrm>
            <a:off x="7678415" y="1674553"/>
            <a:ext cx="24178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>
                <a:solidFill>
                  <a:schemeClr val="accent1">
                    <a:lumMod val="50000"/>
                  </a:schemeClr>
                </a:solidFill>
              </a:rPr>
              <a:t>Data acquisition</a:t>
            </a:r>
          </a:p>
        </p:txBody>
      </p:sp>
      <p:cxnSp>
        <p:nvCxnSpPr>
          <p:cNvPr id="69" name="Connecteur droit 68">
            <a:extLst>
              <a:ext uri="{FF2B5EF4-FFF2-40B4-BE49-F238E27FC236}">
                <a16:creationId xmlns:a16="http://schemas.microsoft.com/office/drawing/2014/main" id="{2D3CC83E-0009-5A00-FFCF-986D651C9AF6}"/>
              </a:ext>
            </a:extLst>
          </p:cNvPr>
          <p:cNvCxnSpPr>
            <a:cxnSpLocks/>
          </p:cNvCxnSpPr>
          <p:nvPr/>
        </p:nvCxnSpPr>
        <p:spPr>
          <a:xfrm>
            <a:off x="7630180" y="5665509"/>
            <a:ext cx="3901126" cy="0"/>
          </a:xfrm>
          <a:prstGeom prst="line">
            <a:avLst/>
          </a:prstGeom>
          <a:ln w="9525">
            <a:solidFill>
              <a:schemeClr val="tx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CasellaDiTesto 56">
            <a:extLst>
              <a:ext uri="{FF2B5EF4-FFF2-40B4-BE49-F238E27FC236}">
                <a16:creationId xmlns:a16="http://schemas.microsoft.com/office/drawing/2014/main" id="{1B34BC16-1E4D-766B-B455-4DB8369A9512}"/>
              </a:ext>
            </a:extLst>
          </p:cNvPr>
          <p:cNvSpPr txBox="1"/>
          <p:nvPr/>
        </p:nvSpPr>
        <p:spPr>
          <a:xfrm>
            <a:off x="8861175" y="4577134"/>
            <a:ext cx="24848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/>
              <a:t>20 </a:t>
            </a:r>
            <a:r>
              <a:rPr lang="it-IT"/>
              <a:t>seconds to switch position</a:t>
            </a:r>
          </a:p>
        </p:txBody>
      </p:sp>
      <p:sp>
        <p:nvSpPr>
          <p:cNvPr id="4" name="Ovale 3">
            <a:extLst>
              <a:ext uri="{FF2B5EF4-FFF2-40B4-BE49-F238E27FC236}">
                <a16:creationId xmlns:a16="http://schemas.microsoft.com/office/drawing/2014/main" id="{061D1708-82D3-8312-5331-03A4917CB451}"/>
              </a:ext>
            </a:extLst>
          </p:cNvPr>
          <p:cNvSpPr/>
          <p:nvPr/>
        </p:nvSpPr>
        <p:spPr>
          <a:xfrm>
            <a:off x="765083" y="3634773"/>
            <a:ext cx="161390" cy="25913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663273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6785AE7-8B00-486C-9A8C-F571C9317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/>
              <a:t>GUI for data </a:t>
            </a:r>
            <a:r>
              <a:rPr lang="it-IT" sz="3200" err="1"/>
              <a:t>acquisition</a:t>
            </a:r>
            <a:r>
              <a:rPr lang="it-IT" sz="3200"/>
              <a:t> and </a:t>
            </a:r>
            <a:r>
              <a:rPr lang="it-IT" sz="3200" err="1"/>
              <a:t>visualization</a:t>
            </a:r>
            <a:endParaRPr lang="it-IT" sz="3200"/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BA569905-F51D-BC1D-00FB-053C819DB6E2}"/>
              </a:ext>
            </a:extLst>
          </p:cNvPr>
          <p:cNvSpPr txBox="1"/>
          <p:nvPr/>
        </p:nvSpPr>
        <p:spPr>
          <a:xfrm>
            <a:off x="154215" y="6292352"/>
            <a:ext cx="4722312" cy="369332"/>
          </a:xfrm>
          <a:prstGeom prst="rect">
            <a:avLst/>
          </a:prstGeom>
          <a:solidFill>
            <a:srgbClr val="728FA5"/>
          </a:solidFill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M. Alfonzo, C. </a:t>
            </a:r>
            <a:r>
              <a:rPr lang="it-IT" err="1">
                <a:solidFill>
                  <a:schemeClr val="bg1"/>
                </a:solidFill>
              </a:rPr>
              <a:t>Canavate</a:t>
            </a:r>
            <a:r>
              <a:rPr lang="it-IT">
                <a:solidFill>
                  <a:schemeClr val="bg1"/>
                </a:solidFill>
              </a:rPr>
              <a:t>, P. </a:t>
            </a:r>
            <a:r>
              <a:rPr lang="it-IT" err="1">
                <a:solidFill>
                  <a:schemeClr val="bg1"/>
                </a:solidFill>
              </a:rPr>
              <a:t>Franke</a:t>
            </a:r>
            <a:endParaRPr lang="it-IT">
              <a:solidFill>
                <a:schemeClr val="bg1"/>
              </a:solidFill>
            </a:endParaRPr>
          </a:p>
        </p:txBody>
      </p:sp>
      <p:pic>
        <p:nvPicPr>
          <p:cNvPr id="3" name="2022-07-12 11-05-06">
            <a:hlinkClick r:id="" action="ppaction://media"/>
            <a:extLst>
              <a:ext uri="{FF2B5EF4-FFF2-40B4-BE49-F238E27FC236}">
                <a16:creationId xmlns:a16="http://schemas.microsoft.com/office/drawing/2014/main" id="{5C2E174C-7F17-1E15-44B4-ED8F57882EA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r="43750" b="33444"/>
          <a:stretch/>
        </p:blipFill>
        <p:spPr>
          <a:xfrm>
            <a:off x="2468880" y="1295400"/>
            <a:ext cx="7254240" cy="4828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7397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1367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6785AE7-8B00-486C-9A8C-F571C9317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/>
              <a:t>Datasets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BA569905-F51D-BC1D-00FB-053C819DB6E2}"/>
              </a:ext>
            </a:extLst>
          </p:cNvPr>
          <p:cNvSpPr txBox="1"/>
          <p:nvPr/>
        </p:nvSpPr>
        <p:spPr>
          <a:xfrm>
            <a:off x="154215" y="6292352"/>
            <a:ext cx="4722312" cy="369332"/>
          </a:xfrm>
          <a:prstGeom prst="rect">
            <a:avLst/>
          </a:prstGeom>
          <a:solidFill>
            <a:srgbClr val="728FA5"/>
          </a:solidFill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M. Alfonzo, C. </a:t>
            </a:r>
            <a:r>
              <a:rPr lang="it-IT" err="1">
                <a:solidFill>
                  <a:schemeClr val="bg1"/>
                </a:solidFill>
              </a:rPr>
              <a:t>Canavate</a:t>
            </a:r>
            <a:r>
              <a:rPr lang="it-IT">
                <a:solidFill>
                  <a:schemeClr val="bg1"/>
                </a:solidFill>
              </a:rPr>
              <a:t>, P. </a:t>
            </a:r>
            <a:r>
              <a:rPr lang="it-IT" err="1">
                <a:solidFill>
                  <a:schemeClr val="bg1"/>
                </a:solidFill>
              </a:rPr>
              <a:t>Franke</a:t>
            </a:r>
            <a:endParaRPr lang="it-IT">
              <a:solidFill>
                <a:schemeClr val="bg1"/>
              </a:solidFill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923F020C-41CB-F1CC-5370-D2106986A43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90" b="1"/>
          <a:stretch/>
        </p:blipFill>
        <p:spPr>
          <a:xfrm>
            <a:off x="3066392" y="1871866"/>
            <a:ext cx="5778797" cy="2526916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42928538-5D9E-2AFF-5108-5A724B46F27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90" b="1"/>
          <a:stretch/>
        </p:blipFill>
        <p:spPr>
          <a:xfrm>
            <a:off x="3218792" y="2024266"/>
            <a:ext cx="5778797" cy="252691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37185E94-B625-A090-624D-8CC0551D0E1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90" b="1"/>
          <a:stretch/>
        </p:blipFill>
        <p:spPr>
          <a:xfrm>
            <a:off x="3371192" y="2176666"/>
            <a:ext cx="5778797" cy="2526916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44C63487-F81E-8CB0-1818-119CF8D9C0C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90" b="1"/>
          <a:stretch/>
        </p:blipFill>
        <p:spPr>
          <a:xfrm>
            <a:off x="3523592" y="2329066"/>
            <a:ext cx="5778797" cy="2526916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12BC6CF8-9CD2-8A7E-1583-DB35792D256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90" b="1"/>
          <a:stretch/>
        </p:blipFill>
        <p:spPr>
          <a:xfrm>
            <a:off x="3675992" y="2481466"/>
            <a:ext cx="5778797" cy="2526916"/>
          </a:xfrm>
          <a:prstGeom prst="rect">
            <a:avLst/>
          </a:prstGeom>
        </p:spPr>
      </p:pic>
      <p:sp>
        <p:nvSpPr>
          <p:cNvPr id="12" name="Accolade ouvrante 11">
            <a:extLst>
              <a:ext uri="{FF2B5EF4-FFF2-40B4-BE49-F238E27FC236}">
                <a16:creationId xmlns:a16="http://schemas.microsoft.com/office/drawing/2014/main" id="{1F3BFFC8-0414-0292-4D05-2149902C6642}"/>
              </a:ext>
            </a:extLst>
          </p:cNvPr>
          <p:cNvSpPr/>
          <p:nvPr/>
        </p:nvSpPr>
        <p:spPr>
          <a:xfrm rot="18984020">
            <a:off x="2924124" y="4094892"/>
            <a:ext cx="130999" cy="1461554"/>
          </a:xfrm>
          <a:prstGeom prst="leftBrac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CasellaDiTesto 56">
            <a:extLst>
              <a:ext uri="{FF2B5EF4-FFF2-40B4-BE49-F238E27FC236}">
                <a16:creationId xmlns:a16="http://schemas.microsoft.com/office/drawing/2014/main" id="{EA21AFD0-3B51-E0EC-A8AA-F72ADCA9AE7B}"/>
              </a:ext>
            </a:extLst>
          </p:cNvPr>
          <p:cNvSpPr txBox="1"/>
          <p:nvPr/>
        </p:nvSpPr>
        <p:spPr>
          <a:xfrm>
            <a:off x="1582595" y="4823716"/>
            <a:ext cx="12881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/>
              <a:t>11 datasets</a:t>
            </a:r>
          </a:p>
          <a:p>
            <a:pPr algn="ctr"/>
            <a:r>
              <a:rPr lang="it-IT" b="1"/>
              <a:t>collecte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901559-B4A3-1C08-9574-EC7CB2C991A5}"/>
              </a:ext>
            </a:extLst>
          </p:cNvPr>
          <p:cNvSpPr/>
          <p:nvPr/>
        </p:nvSpPr>
        <p:spPr>
          <a:xfrm>
            <a:off x="3902697" y="2724347"/>
            <a:ext cx="4590854" cy="2293462"/>
          </a:xfrm>
          <a:prstGeom prst="rect">
            <a:avLst/>
          </a:prstGeom>
          <a:noFill/>
          <a:ln w="285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B317841-2D68-83F5-9DEF-403AB3981C1B}"/>
              </a:ext>
            </a:extLst>
          </p:cNvPr>
          <p:cNvSpPr/>
          <p:nvPr/>
        </p:nvSpPr>
        <p:spPr>
          <a:xfrm>
            <a:off x="8517186" y="2724347"/>
            <a:ext cx="739502" cy="2293462"/>
          </a:xfrm>
          <a:prstGeom prst="rect">
            <a:avLst/>
          </a:pr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CasellaDiTesto 56">
            <a:extLst>
              <a:ext uri="{FF2B5EF4-FFF2-40B4-BE49-F238E27FC236}">
                <a16:creationId xmlns:a16="http://schemas.microsoft.com/office/drawing/2014/main" id="{7291391F-30A4-004C-3BE6-AE36813FF898}"/>
              </a:ext>
            </a:extLst>
          </p:cNvPr>
          <p:cNvSpPr txBox="1"/>
          <p:nvPr/>
        </p:nvSpPr>
        <p:spPr>
          <a:xfrm>
            <a:off x="5768909" y="5052435"/>
            <a:ext cx="12881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>
                <a:solidFill>
                  <a:schemeClr val="accent1"/>
                </a:solidFill>
              </a:rPr>
              <a:t>features</a:t>
            </a:r>
          </a:p>
        </p:txBody>
      </p:sp>
      <p:sp>
        <p:nvSpPr>
          <p:cNvPr id="17" name="CasellaDiTesto 56">
            <a:extLst>
              <a:ext uri="{FF2B5EF4-FFF2-40B4-BE49-F238E27FC236}">
                <a16:creationId xmlns:a16="http://schemas.microsoft.com/office/drawing/2014/main" id="{4A7C578F-2560-241B-1A99-49BFEC7CF305}"/>
              </a:ext>
            </a:extLst>
          </p:cNvPr>
          <p:cNvSpPr txBox="1"/>
          <p:nvPr/>
        </p:nvSpPr>
        <p:spPr>
          <a:xfrm>
            <a:off x="9378128" y="3501746"/>
            <a:ext cx="12881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>
                <a:solidFill>
                  <a:schemeClr val="accent3"/>
                </a:solidFill>
              </a:rPr>
              <a:t>target</a:t>
            </a:r>
          </a:p>
        </p:txBody>
      </p:sp>
    </p:spTree>
    <p:extLst>
      <p:ext uri="{BB962C8B-B14F-4D97-AF65-F5344CB8AC3E}">
        <p14:creationId xmlns:p14="http://schemas.microsoft.com/office/powerpoint/2010/main" val="36334602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8F529B3-1C29-FC8D-6F09-6C05C488AD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5119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8F529B3-1C29-FC8D-6F09-6C05C488A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482C885E-E343-C09D-85B0-300257930BDE}"/>
              </a:ext>
            </a:extLst>
          </p:cNvPr>
          <p:cNvSpPr txBox="1"/>
          <p:nvPr/>
        </p:nvSpPr>
        <p:spPr>
          <a:xfrm>
            <a:off x="154215" y="6292352"/>
            <a:ext cx="4722312" cy="369332"/>
          </a:xfrm>
          <a:prstGeom prst="rect">
            <a:avLst/>
          </a:prstGeom>
          <a:solidFill>
            <a:srgbClr val="728FA5"/>
          </a:solidFill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M. Alfonzo, C. </a:t>
            </a:r>
            <a:r>
              <a:rPr lang="it-IT" err="1">
                <a:solidFill>
                  <a:schemeClr val="bg1"/>
                </a:solidFill>
              </a:rPr>
              <a:t>Canavate</a:t>
            </a:r>
            <a:r>
              <a:rPr lang="it-IT">
                <a:solidFill>
                  <a:schemeClr val="bg1"/>
                </a:solidFill>
              </a:rPr>
              <a:t>, P. </a:t>
            </a:r>
            <a:r>
              <a:rPr lang="it-IT" err="1">
                <a:solidFill>
                  <a:schemeClr val="bg1"/>
                </a:solidFill>
              </a:rPr>
              <a:t>Franke</a:t>
            </a:r>
            <a:endParaRPr lang="it-IT">
              <a:solidFill>
                <a:schemeClr val="bg1"/>
              </a:solidFill>
            </a:endParaRP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7C0E96CF-E869-503E-3AD9-2CAA20B2985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-1" r="49149" b="33489"/>
          <a:stretch/>
        </p:blipFill>
        <p:spPr>
          <a:xfrm>
            <a:off x="398959" y="2289260"/>
            <a:ext cx="5113216" cy="3380062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846967B7-83C9-7A75-BED7-77F5CE3AC84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48975" b="33041"/>
          <a:stretch/>
        </p:blipFill>
        <p:spPr>
          <a:xfrm>
            <a:off x="6312932" y="2309293"/>
            <a:ext cx="5027990" cy="3381875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15CC479E-4A48-1A53-49FA-5773356DC7C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65754" y="1373562"/>
            <a:ext cx="762000" cy="952500"/>
          </a:xfrm>
          <a:prstGeom prst="rect">
            <a:avLst/>
          </a:prstGeom>
        </p:spPr>
      </p:pic>
      <p:sp>
        <p:nvSpPr>
          <p:cNvPr id="11" name="Titolo 1">
            <a:extLst>
              <a:ext uri="{FF2B5EF4-FFF2-40B4-BE49-F238E27FC236}">
                <a16:creationId xmlns:a16="http://schemas.microsoft.com/office/drawing/2014/main" id="{B02C7238-5CF1-E76E-3463-15563936AFEA}"/>
              </a:ext>
            </a:extLst>
          </p:cNvPr>
          <p:cNvSpPr txBox="1">
            <a:spLocks/>
          </p:cNvSpPr>
          <p:nvPr/>
        </p:nvSpPr>
        <p:spPr>
          <a:xfrm>
            <a:off x="384695" y="139166"/>
            <a:ext cx="11441391" cy="840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0" indent="0" algn="l" defTabSz="4572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it-IT" sz="3200"/>
              <a:t>Machine Learning – </a:t>
            </a:r>
            <a:r>
              <a:rPr lang="it-IT" sz="3200" b="1"/>
              <a:t>Data visualization &amp; cleaning</a:t>
            </a:r>
            <a:endParaRPr lang="it-IT" sz="3200"/>
          </a:p>
        </p:txBody>
      </p:sp>
      <p:sp>
        <p:nvSpPr>
          <p:cNvPr id="14" name="Flèche : pentagone 13">
            <a:extLst>
              <a:ext uri="{FF2B5EF4-FFF2-40B4-BE49-F238E27FC236}">
                <a16:creationId xmlns:a16="http://schemas.microsoft.com/office/drawing/2014/main" id="{199E4E8B-1930-C013-85E5-0FC6DA5F3ADF}"/>
              </a:ext>
            </a:extLst>
          </p:cNvPr>
          <p:cNvSpPr/>
          <p:nvPr/>
        </p:nvSpPr>
        <p:spPr>
          <a:xfrm>
            <a:off x="504140" y="1626737"/>
            <a:ext cx="3779229" cy="413766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CasellaDiTesto 12">
            <a:extLst>
              <a:ext uri="{FF2B5EF4-FFF2-40B4-BE49-F238E27FC236}">
                <a16:creationId xmlns:a16="http://schemas.microsoft.com/office/drawing/2014/main" id="{2C449833-C45A-755C-3F4D-3EE7D6B6D03F}"/>
              </a:ext>
            </a:extLst>
          </p:cNvPr>
          <p:cNvSpPr txBox="1"/>
          <p:nvPr/>
        </p:nvSpPr>
        <p:spPr>
          <a:xfrm>
            <a:off x="645297" y="1642929"/>
            <a:ext cx="42312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Raw data (before data cleaning)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15" name="Flèche : pentagone 14">
            <a:extLst>
              <a:ext uri="{FF2B5EF4-FFF2-40B4-BE49-F238E27FC236}">
                <a16:creationId xmlns:a16="http://schemas.microsoft.com/office/drawing/2014/main" id="{4DF491FC-1F9D-9BAE-3F28-7C0265A1DF50}"/>
              </a:ext>
            </a:extLst>
          </p:cNvPr>
          <p:cNvSpPr/>
          <p:nvPr/>
        </p:nvSpPr>
        <p:spPr>
          <a:xfrm>
            <a:off x="6312932" y="1642929"/>
            <a:ext cx="5300891" cy="413766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F53F6AE3-79B5-5F7F-4CF7-1C4883098654}"/>
              </a:ext>
            </a:extLst>
          </p:cNvPr>
          <p:cNvSpPr txBox="1"/>
          <p:nvPr/>
        </p:nvSpPr>
        <p:spPr>
          <a:xfrm>
            <a:off x="6408872" y="1652356"/>
            <a:ext cx="57989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tx2"/>
                </a:solidFill>
              </a:rPr>
              <a:t>Data after removing the first 20 transient samples</a:t>
            </a:r>
            <a:endParaRPr lang="it-IT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1271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8F529B3-1C29-FC8D-6F09-6C05C488AD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1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8F529B3-1C29-FC8D-6F09-6C05C488A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482C885E-E343-C09D-85B0-300257930BDE}"/>
              </a:ext>
            </a:extLst>
          </p:cNvPr>
          <p:cNvSpPr txBox="1"/>
          <p:nvPr/>
        </p:nvSpPr>
        <p:spPr>
          <a:xfrm>
            <a:off x="154215" y="6292352"/>
            <a:ext cx="4722312" cy="369332"/>
          </a:xfrm>
          <a:prstGeom prst="rect">
            <a:avLst/>
          </a:prstGeom>
          <a:solidFill>
            <a:srgbClr val="728FA5"/>
          </a:solidFill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M. Alfonzo, C. </a:t>
            </a:r>
            <a:r>
              <a:rPr lang="it-IT" err="1">
                <a:solidFill>
                  <a:schemeClr val="bg1"/>
                </a:solidFill>
              </a:rPr>
              <a:t>Canavate</a:t>
            </a:r>
            <a:r>
              <a:rPr lang="it-IT">
                <a:solidFill>
                  <a:schemeClr val="bg1"/>
                </a:solidFill>
              </a:rPr>
              <a:t>, P. </a:t>
            </a:r>
            <a:r>
              <a:rPr lang="it-IT" err="1">
                <a:solidFill>
                  <a:schemeClr val="bg1"/>
                </a:solidFill>
              </a:rPr>
              <a:t>Franke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B02C7238-5CF1-E76E-3463-15563936AFEA}"/>
              </a:ext>
            </a:extLst>
          </p:cNvPr>
          <p:cNvSpPr txBox="1">
            <a:spLocks/>
          </p:cNvSpPr>
          <p:nvPr/>
        </p:nvSpPr>
        <p:spPr>
          <a:xfrm>
            <a:off x="384695" y="139166"/>
            <a:ext cx="11441391" cy="840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0" indent="0" algn="l" defTabSz="4572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it-IT" sz="3200"/>
              <a:t>Machine Learning – </a:t>
            </a:r>
            <a:r>
              <a:rPr lang="it-IT" sz="3200" b="1"/>
              <a:t>Data preparation pipeline</a:t>
            </a:r>
            <a:endParaRPr lang="it-IT" sz="3200"/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4EFF2059-660C-503B-566C-FB72F956D581}"/>
              </a:ext>
            </a:extLst>
          </p:cNvPr>
          <p:cNvGrpSpPr/>
          <p:nvPr/>
        </p:nvGrpSpPr>
        <p:grpSpPr>
          <a:xfrm>
            <a:off x="8436459" y="1796335"/>
            <a:ext cx="3099688" cy="2550105"/>
            <a:chOff x="1278194" y="1907458"/>
            <a:chExt cx="3099688" cy="2550105"/>
          </a:xfrm>
        </p:grpSpPr>
        <p:sp>
          <p:nvSpPr>
            <p:cNvPr id="17" name="Rectangle : coins arrondis 16">
              <a:extLst>
                <a:ext uri="{FF2B5EF4-FFF2-40B4-BE49-F238E27FC236}">
                  <a16:creationId xmlns:a16="http://schemas.microsoft.com/office/drawing/2014/main" id="{A0EC6B4F-5CB5-3A72-D950-8128C742C73F}"/>
                </a:ext>
              </a:extLst>
            </p:cNvPr>
            <p:cNvSpPr/>
            <p:nvPr/>
          </p:nvSpPr>
          <p:spPr>
            <a:xfrm>
              <a:off x="1681314" y="1944198"/>
              <a:ext cx="2315925" cy="2513365"/>
            </a:xfrm>
            <a:prstGeom prst="roundRect">
              <a:avLst/>
            </a:prstGeom>
            <a:no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Flèche : pentagone 17">
              <a:extLst>
                <a:ext uri="{FF2B5EF4-FFF2-40B4-BE49-F238E27FC236}">
                  <a16:creationId xmlns:a16="http://schemas.microsoft.com/office/drawing/2014/main" id="{4F837E47-8DBC-25A7-505E-389FF51C1440}"/>
                </a:ext>
              </a:extLst>
            </p:cNvPr>
            <p:cNvSpPr/>
            <p:nvPr/>
          </p:nvSpPr>
          <p:spPr>
            <a:xfrm>
              <a:off x="1799303" y="1944200"/>
              <a:ext cx="2578579" cy="766916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B29989EA-4BED-D93E-2B4C-5CE2EE867578}"/>
                </a:ext>
              </a:extLst>
            </p:cNvPr>
            <p:cNvSpPr/>
            <p:nvPr/>
          </p:nvSpPr>
          <p:spPr>
            <a:xfrm>
              <a:off x="1278194" y="1907458"/>
              <a:ext cx="865238" cy="8404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F068E6D6-D2BA-9F4C-7564-D00859A211DD}"/>
              </a:ext>
            </a:extLst>
          </p:cNvPr>
          <p:cNvGrpSpPr/>
          <p:nvPr/>
        </p:nvGrpSpPr>
        <p:grpSpPr>
          <a:xfrm>
            <a:off x="4451520" y="1796335"/>
            <a:ext cx="3111791" cy="2550106"/>
            <a:chOff x="1278194" y="1907458"/>
            <a:chExt cx="3111791" cy="2550106"/>
          </a:xfrm>
        </p:grpSpPr>
        <p:sp>
          <p:nvSpPr>
            <p:cNvPr id="21" name="Rectangle : coins arrondis 20">
              <a:extLst>
                <a:ext uri="{FF2B5EF4-FFF2-40B4-BE49-F238E27FC236}">
                  <a16:creationId xmlns:a16="http://schemas.microsoft.com/office/drawing/2014/main" id="{F4332DBB-4B17-B62A-96A4-643D9D10F9EE}"/>
                </a:ext>
              </a:extLst>
            </p:cNvPr>
            <p:cNvSpPr/>
            <p:nvPr/>
          </p:nvSpPr>
          <p:spPr>
            <a:xfrm>
              <a:off x="1690743" y="1944200"/>
              <a:ext cx="2315926" cy="2513364"/>
            </a:xfrm>
            <a:prstGeom prst="roundRect">
              <a:avLst/>
            </a:prstGeom>
            <a:no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Flèche : pentagone 21">
              <a:extLst>
                <a:ext uri="{FF2B5EF4-FFF2-40B4-BE49-F238E27FC236}">
                  <a16:creationId xmlns:a16="http://schemas.microsoft.com/office/drawing/2014/main" id="{8D51CA09-7890-96F2-BF27-17373740C75D}"/>
                </a:ext>
              </a:extLst>
            </p:cNvPr>
            <p:cNvSpPr/>
            <p:nvPr/>
          </p:nvSpPr>
          <p:spPr>
            <a:xfrm>
              <a:off x="1799304" y="1944200"/>
              <a:ext cx="2590681" cy="766916"/>
            </a:xfrm>
            <a:prstGeom prst="homePlat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97934BAB-417E-6CBA-6DE1-0D1FDEED1A27}"/>
                </a:ext>
              </a:extLst>
            </p:cNvPr>
            <p:cNvSpPr/>
            <p:nvPr/>
          </p:nvSpPr>
          <p:spPr>
            <a:xfrm>
              <a:off x="1278194" y="1907458"/>
              <a:ext cx="865238" cy="8404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34E83C44-8127-465E-B1DE-DE8A3722EDEC}"/>
              </a:ext>
            </a:extLst>
          </p:cNvPr>
          <p:cNvGrpSpPr/>
          <p:nvPr/>
        </p:nvGrpSpPr>
        <p:grpSpPr>
          <a:xfrm>
            <a:off x="606909" y="1796335"/>
            <a:ext cx="2985989" cy="2550106"/>
            <a:chOff x="1278194" y="1907458"/>
            <a:chExt cx="2985989" cy="2550106"/>
          </a:xfrm>
        </p:grpSpPr>
        <p:sp>
          <p:nvSpPr>
            <p:cNvPr id="25" name="Rectangle : coins arrondis 24">
              <a:extLst>
                <a:ext uri="{FF2B5EF4-FFF2-40B4-BE49-F238E27FC236}">
                  <a16:creationId xmlns:a16="http://schemas.microsoft.com/office/drawing/2014/main" id="{55A0E0F9-831B-CC5C-CBB0-7561899144E9}"/>
                </a:ext>
              </a:extLst>
            </p:cNvPr>
            <p:cNvSpPr/>
            <p:nvPr/>
          </p:nvSpPr>
          <p:spPr>
            <a:xfrm>
              <a:off x="1681315" y="1944200"/>
              <a:ext cx="2209348" cy="2513364"/>
            </a:xfrm>
            <a:prstGeom prst="roundRect">
              <a:avLst/>
            </a:prstGeom>
            <a:no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" name="Flèche : pentagone 25">
              <a:extLst>
                <a:ext uri="{FF2B5EF4-FFF2-40B4-BE49-F238E27FC236}">
                  <a16:creationId xmlns:a16="http://schemas.microsoft.com/office/drawing/2014/main" id="{523C0552-9843-6F12-B463-32D0373284F5}"/>
                </a:ext>
              </a:extLst>
            </p:cNvPr>
            <p:cNvSpPr/>
            <p:nvPr/>
          </p:nvSpPr>
          <p:spPr>
            <a:xfrm>
              <a:off x="1799303" y="1944200"/>
              <a:ext cx="2464880" cy="766916"/>
            </a:xfrm>
            <a:prstGeom prst="homePlat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5A6A6F32-EC27-F96E-F444-BEEF34EFDAD4}"/>
                </a:ext>
              </a:extLst>
            </p:cNvPr>
            <p:cNvSpPr/>
            <p:nvPr/>
          </p:nvSpPr>
          <p:spPr>
            <a:xfrm>
              <a:off x="1278194" y="1907458"/>
              <a:ext cx="865238" cy="8404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8" name="ZoneTexte 27">
            <a:extLst>
              <a:ext uri="{FF2B5EF4-FFF2-40B4-BE49-F238E27FC236}">
                <a16:creationId xmlns:a16="http://schemas.microsoft.com/office/drawing/2014/main" id="{AD5041D3-9196-9BE9-087D-A0A6B06BA0A7}"/>
              </a:ext>
            </a:extLst>
          </p:cNvPr>
          <p:cNvSpPr txBox="1"/>
          <p:nvPr/>
        </p:nvSpPr>
        <p:spPr>
          <a:xfrm>
            <a:off x="1577360" y="2035879"/>
            <a:ext cx="14893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>
                <a:solidFill>
                  <a:schemeClr val="bg1"/>
                </a:solidFill>
              </a:rPr>
              <a:t>Outlier removal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EAFBB9FA-2B42-96B3-3AA5-283B8FC6B95D}"/>
              </a:ext>
            </a:extLst>
          </p:cNvPr>
          <p:cNvSpPr txBox="1"/>
          <p:nvPr/>
        </p:nvSpPr>
        <p:spPr>
          <a:xfrm>
            <a:off x="5368905" y="2026151"/>
            <a:ext cx="185153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>
                <a:solidFill>
                  <a:schemeClr val="bg1"/>
                </a:solidFill>
              </a:rPr>
              <a:t>Train </a:t>
            </a:r>
            <a:r>
              <a:rPr lang="en-GB" sz="1200">
                <a:solidFill>
                  <a:schemeClr val="bg1"/>
                </a:solidFill>
              </a:rPr>
              <a:t>&amp;</a:t>
            </a:r>
            <a:r>
              <a:rPr lang="en-GB" sz="1600">
                <a:solidFill>
                  <a:schemeClr val="bg1"/>
                </a:solidFill>
              </a:rPr>
              <a:t> test splitting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784D241A-2AD0-D509-34DB-E6576DDFAA0E}"/>
              </a:ext>
            </a:extLst>
          </p:cNvPr>
          <p:cNvSpPr txBox="1"/>
          <p:nvPr/>
        </p:nvSpPr>
        <p:spPr>
          <a:xfrm>
            <a:off x="9392219" y="2026151"/>
            <a:ext cx="14852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>
                <a:solidFill>
                  <a:schemeClr val="accent1">
                    <a:lumMod val="75000"/>
                  </a:schemeClr>
                </a:solidFill>
              </a:rPr>
              <a:t>Standardization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5AC84EDE-A2C7-BD64-C5EB-98314171A73F}"/>
              </a:ext>
            </a:extLst>
          </p:cNvPr>
          <p:cNvSpPr txBox="1"/>
          <p:nvPr/>
        </p:nvSpPr>
        <p:spPr>
          <a:xfrm>
            <a:off x="1041940" y="2716752"/>
            <a:ext cx="2190495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Subjects and/or positions with erroneous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Led to 10 people</a:t>
            </a:r>
          </a:p>
          <a:p>
            <a:pPr lvl="1"/>
            <a:r>
              <a:rPr lang="en-GB" sz="1400"/>
              <a:t>4 females</a:t>
            </a:r>
          </a:p>
          <a:p>
            <a:pPr lvl="1"/>
            <a:r>
              <a:rPr lang="en-GB" sz="1400"/>
              <a:t>6 males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F5912E06-9FE6-5C5D-3619-86BA7FCDC04C}"/>
              </a:ext>
            </a:extLst>
          </p:cNvPr>
          <p:cNvSpPr txBox="1"/>
          <p:nvPr/>
        </p:nvSpPr>
        <p:spPr>
          <a:xfrm>
            <a:off x="4931520" y="2780064"/>
            <a:ext cx="233751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70/30 split stratified on the </a:t>
            </a:r>
            <a:r>
              <a:rPr lang="en-GB" sz="1600" b="1"/>
              <a:t>subject I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Training set: 7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Test set: 3 people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932E0FB8-141F-8400-F540-49A922291DD2}"/>
              </a:ext>
            </a:extLst>
          </p:cNvPr>
          <p:cNvSpPr txBox="1"/>
          <p:nvPr/>
        </p:nvSpPr>
        <p:spPr>
          <a:xfrm>
            <a:off x="8852637" y="2842274"/>
            <a:ext cx="2302868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Scaler learned on train set and applied to both train and test sets</a:t>
            </a:r>
          </a:p>
          <a:p>
            <a:endParaRPr lang="en-GB" sz="1200"/>
          </a:p>
        </p:txBody>
      </p:sp>
      <p:pic>
        <p:nvPicPr>
          <p:cNvPr id="4098" name="Picture 2" descr="Outliers Icon - Free PNG &amp; SVG 1005066 - Noun Project">
            <a:extLst>
              <a:ext uri="{FF2B5EF4-FFF2-40B4-BE49-F238E27FC236}">
                <a16:creationId xmlns:a16="http://schemas.microsoft.com/office/drawing/2014/main" id="{1D96A17E-D988-A992-01D5-8C68DFA2C9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121" y="1908098"/>
            <a:ext cx="594116" cy="59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Diagram, horizontal, split icon - Download on Iconfinder">
            <a:extLst>
              <a:ext uri="{FF2B5EF4-FFF2-40B4-BE49-F238E27FC236}">
                <a16:creationId xmlns:a16="http://schemas.microsoft.com/office/drawing/2014/main" id="{98ECB2AC-64C1-E49A-5646-DF04AA9116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6227" y="1833672"/>
            <a:ext cx="774795" cy="774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Scaling? Normalizing? Standardizing? | by Shangeth Rajaa | Medium">
            <a:extLst>
              <a:ext uri="{FF2B5EF4-FFF2-40B4-BE49-F238E27FC236}">
                <a16:creationId xmlns:a16="http://schemas.microsoft.com/office/drawing/2014/main" id="{AD838058-EF82-7FEC-3043-FF2DF3205C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325" y="2026151"/>
            <a:ext cx="670623" cy="37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ZoneTexte 42">
            <a:extLst>
              <a:ext uri="{FF2B5EF4-FFF2-40B4-BE49-F238E27FC236}">
                <a16:creationId xmlns:a16="http://schemas.microsoft.com/office/drawing/2014/main" id="{F9DB7D62-2DEE-44C3-EDDD-1D8D7E627E5C}"/>
              </a:ext>
            </a:extLst>
          </p:cNvPr>
          <p:cNvSpPr txBox="1"/>
          <p:nvPr/>
        </p:nvSpPr>
        <p:spPr>
          <a:xfrm>
            <a:off x="2515371" y="4903897"/>
            <a:ext cx="837090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212121"/>
                </a:solidFill>
                <a:latin typeface="+mj-lt"/>
              </a:rPr>
              <a:t>Dataset 1 - All the samples for the 6 coordinat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212121"/>
                </a:solidFill>
                <a:latin typeface="+mj-lt"/>
              </a:rPr>
              <a:t>Dataset 2 - Averages, the min and the max of the 6 coordin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212121"/>
                </a:solidFill>
                <a:latin typeface="+mj-lt"/>
              </a:rPr>
              <a:t>Dataset 3 - Only the averages of the 6 coordinates</a:t>
            </a: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54C5F149-CBCC-F83A-3467-C4BE311F4C07}"/>
              </a:ext>
            </a:extLst>
          </p:cNvPr>
          <p:cNvSpPr txBox="1"/>
          <p:nvPr/>
        </p:nvSpPr>
        <p:spPr>
          <a:xfrm>
            <a:off x="1047179" y="4967975"/>
            <a:ext cx="115813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/>
              <a:t>3 datasets</a:t>
            </a:r>
          </a:p>
          <a:p>
            <a:pPr algn="ctr"/>
            <a:r>
              <a:rPr lang="en-GB" b="1"/>
              <a:t>created</a:t>
            </a:r>
          </a:p>
        </p:txBody>
      </p:sp>
    </p:spTree>
    <p:extLst>
      <p:ext uri="{BB962C8B-B14F-4D97-AF65-F5344CB8AC3E}">
        <p14:creationId xmlns:p14="http://schemas.microsoft.com/office/powerpoint/2010/main" val="39714495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E939291-3D1F-6E91-06B8-BA1CCC087E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69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E939291-3D1F-6E91-06B8-BA1CCC087E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482C885E-E343-C09D-85B0-300257930BDE}"/>
              </a:ext>
            </a:extLst>
          </p:cNvPr>
          <p:cNvSpPr txBox="1"/>
          <p:nvPr/>
        </p:nvSpPr>
        <p:spPr>
          <a:xfrm>
            <a:off x="154215" y="6292352"/>
            <a:ext cx="4722312" cy="369332"/>
          </a:xfrm>
          <a:prstGeom prst="rect">
            <a:avLst/>
          </a:prstGeom>
          <a:solidFill>
            <a:srgbClr val="728FA5"/>
          </a:solidFill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M. Alfonzo, C. </a:t>
            </a:r>
            <a:r>
              <a:rPr lang="it-IT" err="1">
                <a:solidFill>
                  <a:schemeClr val="bg1"/>
                </a:solidFill>
              </a:rPr>
              <a:t>Canavate</a:t>
            </a:r>
            <a:r>
              <a:rPr lang="it-IT">
                <a:solidFill>
                  <a:schemeClr val="bg1"/>
                </a:solidFill>
              </a:rPr>
              <a:t>, P. </a:t>
            </a:r>
            <a:r>
              <a:rPr lang="it-IT" err="1">
                <a:solidFill>
                  <a:schemeClr val="bg1"/>
                </a:solidFill>
              </a:rPr>
              <a:t>Franke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7" name="Titolo 1">
            <a:extLst>
              <a:ext uri="{FF2B5EF4-FFF2-40B4-BE49-F238E27FC236}">
                <a16:creationId xmlns:a16="http://schemas.microsoft.com/office/drawing/2014/main" id="{92F35CC0-9B38-B738-FE0A-633EF22602F3}"/>
              </a:ext>
            </a:extLst>
          </p:cNvPr>
          <p:cNvSpPr txBox="1">
            <a:spLocks/>
          </p:cNvSpPr>
          <p:nvPr/>
        </p:nvSpPr>
        <p:spPr>
          <a:xfrm>
            <a:off x="384695" y="139166"/>
            <a:ext cx="11441391" cy="840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0" indent="0" algn="l" defTabSz="4572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3200"/>
              <a:t>Machine Learning – Overview of evaluated techniques</a:t>
            </a:r>
            <a:endParaRPr lang="it-IT" sz="320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F2ACB89-DCFE-001F-2A1A-D5205EA10D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90152" y="1789882"/>
            <a:ext cx="8211696" cy="3534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9322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9AD94C8-695B-14F9-3E9D-06B0907C5A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7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9AD94C8-695B-14F9-3E9D-06B0907C5A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482C885E-E343-C09D-85B0-300257930BDE}"/>
              </a:ext>
            </a:extLst>
          </p:cNvPr>
          <p:cNvSpPr txBox="1"/>
          <p:nvPr/>
        </p:nvSpPr>
        <p:spPr>
          <a:xfrm>
            <a:off x="154215" y="6292352"/>
            <a:ext cx="4722312" cy="369332"/>
          </a:xfrm>
          <a:prstGeom prst="rect">
            <a:avLst/>
          </a:prstGeom>
          <a:solidFill>
            <a:srgbClr val="728FA5"/>
          </a:solidFill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M. Alfonzo, C. </a:t>
            </a:r>
            <a:r>
              <a:rPr lang="it-IT" err="1">
                <a:solidFill>
                  <a:schemeClr val="bg1"/>
                </a:solidFill>
              </a:rPr>
              <a:t>Canavate</a:t>
            </a:r>
            <a:r>
              <a:rPr lang="it-IT">
                <a:solidFill>
                  <a:schemeClr val="bg1"/>
                </a:solidFill>
              </a:rPr>
              <a:t>, P. </a:t>
            </a:r>
            <a:r>
              <a:rPr lang="it-IT" err="1">
                <a:solidFill>
                  <a:schemeClr val="bg1"/>
                </a:solidFill>
              </a:rPr>
              <a:t>Franke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15" name="CasellaDiTesto 10">
            <a:extLst>
              <a:ext uri="{FF2B5EF4-FFF2-40B4-BE49-F238E27FC236}">
                <a16:creationId xmlns:a16="http://schemas.microsoft.com/office/drawing/2014/main" id="{253FA75F-C051-A02C-DD23-8EAA75E02D90}"/>
              </a:ext>
            </a:extLst>
          </p:cNvPr>
          <p:cNvSpPr txBox="1"/>
          <p:nvPr/>
        </p:nvSpPr>
        <p:spPr>
          <a:xfrm>
            <a:off x="515938" y="1343022"/>
            <a:ext cx="52537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/>
              <a:t>Best for </a:t>
            </a:r>
            <a:r>
              <a:rPr lang="it-IT" sz="2000" b="1" err="1"/>
              <a:t>Supervised</a:t>
            </a:r>
            <a:r>
              <a:rPr lang="it-IT" sz="2000" b="1"/>
              <a:t> Learning: Random </a:t>
            </a:r>
            <a:r>
              <a:rPr lang="it-IT" sz="2000" b="1" err="1"/>
              <a:t>Forest</a:t>
            </a:r>
            <a:endParaRPr lang="it-IT" sz="2000" b="1"/>
          </a:p>
        </p:txBody>
      </p:sp>
      <p:sp>
        <p:nvSpPr>
          <p:cNvPr id="17" name="Titolo 1">
            <a:extLst>
              <a:ext uri="{FF2B5EF4-FFF2-40B4-BE49-F238E27FC236}">
                <a16:creationId xmlns:a16="http://schemas.microsoft.com/office/drawing/2014/main" id="{29F5A4A8-61E4-4697-954E-C2042B9EFE23}"/>
              </a:ext>
            </a:extLst>
          </p:cNvPr>
          <p:cNvSpPr txBox="1">
            <a:spLocks/>
          </p:cNvSpPr>
          <p:nvPr/>
        </p:nvSpPr>
        <p:spPr>
          <a:xfrm>
            <a:off x="384695" y="139166"/>
            <a:ext cx="11441391" cy="840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0" indent="0" algn="l" defTabSz="4572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it-IT" sz="3200"/>
              <a:t>Machine Learning – Metrics and Results</a:t>
            </a:r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D9DFAB32-0A6B-61E4-6CB7-0D788DB809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91135" y="2747396"/>
            <a:ext cx="1471210" cy="2069669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80EB5681-12F9-6FF7-512F-9A60F7BDBC43}"/>
              </a:ext>
            </a:extLst>
          </p:cNvPr>
          <p:cNvGrpSpPr/>
          <p:nvPr/>
        </p:nvGrpSpPr>
        <p:grpSpPr>
          <a:xfrm>
            <a:off x="10238236" y="2765684"/>
            <a:ext cx="1524109" cy="1989926"/>
            <a:chOff x="10238236" y="2765684"/>
            <a:chExt cx="1524109" cy="1989926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C04DFD9-5A5B-403E-46DF-FE208E10615F}"/>
                </a:ext>
              </a:extLst>
            </p:cNvPr>
            <p:cNvSpPr>
              <a:spLocks/>
            </p:cNvSpPr>
            <p:nvPr/>
          </p:nvSpPr>
          <p:spPr>
            <a:xfrm>
              <a:off x="10238236" y="2765684"/>
              <a:ext cx="1524109" cy="559518"/>
            </a:xfrm>
            <a:prstGeom prst="rect">
              <a:avLst/>
            </a:prstGeom>
            <a:noFill/>
            <a:ln w="24003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15214" tIns="57607" rIns="115214" bIns="57607"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28">
              <a:extLst>
                <a:ext uri="{FF2B5EF4-FFF2-40B4-BE49-F238E27FC236}">
                  <a16:creationId xmlns:a16="http://schemas.microsoft.com/office/drawing/2014/main" id="{C8827AFA-0725-A17A-BD25-30EC048EFE15}"/>
                </a:ext>
              </a:extLst>
            </p:cNvPr>
            <p:cNvSpPr>
              <a:spLocks/>
            </p:cNvSpPr>
            <p:nvPr/>
          </p:nvSpPr>
          <p:spPr>
            <a:xfrm>
              <a:off x="10238236" y="3325203"/>
              <a:ext cx="1524109" cy="439808"/>
            </a:xfrm>
            <a:prstGeom prst="rect">
              <a:avLst/>
            </a:prstGeom>
            <a:noFill/>
            <a:ln w="24003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15214" tIns="57607" rIns="115214" bIns="57607"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28">
              <a:extLst>
                <a:ext uri="{FF2B5EF4-FFF2-40B4-BE49-F238E27FC236}">
                  <a16:creationId xmlns:a16="http://schemas.microsoft.com/office/drawing/2014/main" id="{9A8F99F8-EBA2-CAA9-9CFA-4B1AAC8F3A24}"/>
                </a:ext>
              </a:extLst>
            </p:cNvPr>
            <p:cNvSpPr>
              <a:spLocks/>
            </p:cNvSpPr>
            <p:nvPr/>
          </p:nvSpPr>
          <p:spPr>
            <a:xfrm>
              <a:off x="10238236" y="3765010"/>
              <a:ext cx="1524109" cy="495300"/>
            </a:xfrm>
            <a:prstGeom prst="rect">
              <a:avLst/>
            </a:prstGeom>
            <a:noFill/>
            <a:ln w="24003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15214" tIns="57607" rIns="115214" bIns="57607"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8">
              <a:extLst>
                <a:ext uri="{FF2B5EF4-FFF2-40B4-BE49-F238E27FC236}">
                  <a16:creationId xmlns:a16="http://schemas.microsoft.com/office/drawing/2014/main" id="{E5D44B55-CE36-7A63-5764-F7765D33A503}"/>
                </a:ext>
              </a:extLst>
            </p:cNvPr>
            <p:cNvSpPr>
              <a:spLocks/>
            </p:cNvSpPr>
            <p:nvPr/>
          </p:nvSpPr>
          <p:spPr>
            <a:xfrm>
              <a:off x="10238236" y="4260310"/>
              <a:ext cx="1524109" cy="495300"/>
            </a:xfrm>
            <a:prstGeom prst="rect">
              <a:avLst/>
            </a:prstGeom>
            <a:noFill/>
            <a:ln w="24003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15214" tIns="57607" rIns="115214" bIns="57607"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" name="Immagine 2">
            <a:extLst>
              <a:ext uri="{FF2B5EF4-FFF2-40B4-BE49-F238E27FC236}">
                <a16:creationId xmlns:a16="http://schemas.microsoft.com/office/drawing/2014/main" id="{11E54E3B-C7F1-42C7-48A2-96AFA9C158A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2554" y="2286003"/>
            <a:ext cx="4552950" cy="3228975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A12EBBF2-2CE6-667F-8CB8-9755BD3298D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69723" y="2275435"/>
            <a:ext cx="4216031" cy="3338206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1B5A230-B7A7-E521-E935-D4EC0FD41B84}"/>
              </a:ext>
            </a:extLst>
          </p:cNvPr>
          <p:cNvSpPr/>
          <p:nvPr/>
        </p:nvSpPr>
        <p:spPr>
          <a:xfrm>
            <a:off x="3634564" y="4853641"/>
            <a:ext cx="518550" cy="294969"/>
          </a:xfrm>
          <a:prstGeom prst="rect">
            <a:avLst/>
          </a:prstGeom>
          <a:noFill/>
          <a:ln w="381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8A82186-C1B6-2F8A-DCA1-7BD2EBA829BA}"/>
              </a:ext>
            </a:extLst>
          </p:cNvPr>
          <p:cNvSpPr>
            <a:spLocks/>
          </p:cNvSpPr>
          <p:nvPr/>
        </p:nvSpPr>
        <p:spPr>
          <a:xfrm>
            <a:off x="6278660" y="2413406"/>
            <a:ext cx="741693" cy="738093"/>
          </a:xfrm>
          <a:prstGeom prst="rect">
            <a:avLst/>
          </a:prstGeom>
          <a:noFill/>
          <a:ln w="24003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5214" tIns="57607" rIns="115214" bIns="57607"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B1B186A-1417-F05D-CB10-9561BBF671FA}"/>
              </a:ext>
            </a:extLst>
          </p:cNvPr>
          <p:cNvSpPr>
            <a:spLocks/>
          </p:cNvSpPr>
          <p:nvPr/>
        </p:nvSpPr>
        <p:spPr>
          <a:xfrm>
            <a:off x="6958376" y="3080104"/>
            <a:ext cx="741693" cy="738093"/>
          </a:xfrm>
          <a:prstGeom prst="rect">
            <a:avLst/>
          </a:prstGeom>
          <a:noFill/>
          <a:ln w="24003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5214" tIns="57607" rIns="115214" bIns="57607"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00D94B6-7652-657B-D4CF-BCCE042AE7FD}"/>
              </a:ext>
            </a:extLst>
          </p:cNvPr>
          <p:cNvSpPr>
            <a:spLocks/>
          </p:cNvSpPr>
          <p:nvPr/>
        </p:nvSpPr>
        <p:spPr>
          <a:xfrm>
            <a:off x="8296969" y="4429731"/>
            <a:ext cx="741693" cy="738093"/>
          </a:xfrm>
          <a:prstGeom prst="rect">
            <a:avLst/>
          </a:prstGeom>
          <a:noFill/>
          <a:ln w="24003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5214" tIns="57607" rIns="115214" bIns="57607" rtlCol="0" anchor="ctr"/>
          <a:lstStyle/>
          <a:p>
            <a:pPr algn="ctr"/>
            <a:endParaRPr lang="en-US"/>
          </a:p>
        </p:txBody>
      </p:sp>
      <p:sp>
        <p:nvSpPr>
          <p:cNvPr id="23" name="Rectangle 28">
            <a:extLst>
              <a:ext uri="{FF2B5EF4-FFF2-40B4-BE49-F238E27FC236}">
                <a16:creationId xmlns:a16="http://schemas.microsoft.com/office/drawing/2014/main" id="{D706A660-92EA-5001-F1FB-FF660881A22F}"/>
              </a:ext>
            </a:extLst>
          </p:cNvPr>
          <p:cNvSpPr>
            <a:spLocks/>
          </p:cNvSpPr>
          <p:nvPr/>
        </p:nvSpPr>
        <p:spPr>
          <a:xfrm>
            <a:off x="7613231" y="3755946"/>
            <a:ext cx="741693" cy="738093"/>
          </a:xfrm>
          <a:prstGeom prst="rect">
            <a:avLst/>
          </a:prstGeom>
          <a:noFill/>
          <a:ln w="24003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5214" tIns="57607" rIns="115214" bIns="57607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963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  <p:bldP spid="20" grpId="0" animBg="1"/>
      <p:bldP spid="22" grpId="0" animBg="1"/>
      <p:bldP spid="2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E939291-3D1F-6E91-06B8-BA1CCC087E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5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E939291-3D1F-6E91-06B8-BA1CCC087E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482C885E-E343-C09D-85B0-300257930BDE}"/>
              </a:ext>
            </a:extLst>
          </p:cNvPr>
          <p:cNvSpPr txBox="1"/>
          <p:nvPr/>
        </p:nvSpPr>
        <p:spPr>
          <a:xfrm>
            <a:off x="154215" y="6292352"/>
            <a:ext cx="4722312" cy="369332"/>
          </a:xfrm>
          <a:prstGeom prst="rect">
            <a:avLst/>
          </a:prstGeom>
          <a:solidFill>
            <a:srgbClr val="728FA5"/>
          </a:solidFill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M. Alfonzo, C. </a:t>
            </a:r>
            <a:r>
              <a:rPr lang="it-IT" err="1">
                <a:solidFill>
                  <a:schemeClr val="bg1"/>
                </a:solidFill>
              </a:rPr>
              <a:t>Canavate</a:t>
            </a:r>
            <a:r>
              <a:rPr lang="it-IT">
                <a:solidFill>
                  <a:schemeClr val="bg1"/>
                </a:solidFill>
              </a:rPr>
              <a:t>, P. </a:t>
            </a:r>
            <a:r>
              <a:rPr lang="it-IT" err="1">
                <a:solidFill>
                  <a:schemeClr val="bg1"/>
                </a:solidFill>
              </a:rPr>
              <a:t>Franke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7" name="Titolo 1">
            <a:extLst>
              <a:ext uri="{FF2B5EF4-FFF2-40B4-BE49-F238E27FC236}">
                <a16:creationId xmlns:a16="http://schemas.microsoft.com/office/drawing/2014/main" id="{92F35CC0-9B38-B738-FE0A-633EF22602F3}"/>
              </a:ext>
            </a:extLst>
          </p:cNvPr>
          <p:cNvSpPr txBox="1">
            <a:spLocks/>
          </p:cNvSpPr>
          <p:nvPr/>
        </p:nvSpPr>
        <p:spPr>
          <a:xfrm>
            <a:off x="384695" y="139166"/>
            <a:ext cx="11441391" cy="840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0" indent="0" algn="l" defTabSz="4572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3200"/>
              <a:t>Machine Learning – Overview of evaluated techniques</a:t>
            </a:r>
            <a:endParaRPr lang="it-IT" sz="32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4F5B91F-5D2C-6FFB-248A-A0A62D9727AE}"/>
              </a:ext>
            </a:extLst>
          </p:cNvPr>
          <p:cNvSpPr txBox="1"/>
          <p:nvPr/>
        </p:nvSpPr>
        <p:spPr>
          <a:xfrm>
            <a:off x="1151835" y="4921023"/>
            <a:ext cx="609765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800" b="1"/>
              <a:t>ARI: </a:t>
            </a:r>
            <a:r>
              <a:rPr lang="it-IT" sz="1800" err="1"/>
              <a:t>Adjusted</a:t>
            </a:r>
            <a:r>
              <a:rPr lang="it-IT" sz="1800"/>
              <a:t> Rand Index</a:t>
            </a:r>
          </a:p>
          <a:p>
            <a:r>
              <a:rPr lang="it-IT" sz="1800" b="1"/>
              <a:t>NMI: </a:t>
            </a:r>
            <a:r>
              <a:rPr lang="it-IT" sz="1800" err="1"/>
              <a:t>Normalized</a:t>
            </a:r>
            <a:r>
              <a:rPr lang="it-IT" sz="1800"/>
              <a:t> </a:t>
            </a:r>
            <a:r>
              <a:rPr lang="it-IT" sz="1800" err="1"/>
              <a:t>Mutual</a:t>
            </a:r>
            <a:r>
              <a:rPr lang="it-IT" sz="1800"/>
              <a:t> Information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5584F7A-4CAE-1F95-7A2A-36BFEB6D7B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1835" y="2333297"/>
            <a:ext cx="9888330" cy="197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5305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9AD94C8-695B-14F9-3E9D-06B0907C5A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8902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89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9AD94C8-695B-14F9-3E9D-06B0907C5A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482C885E-E343-C09D-85B0-300257930BDE}"/>
              </a:ext>
            </a:extLst>
          </p:cNvPr>
          <p:cNvSpPr txBox="1"/>
          <p:nvPr/>
        </p:nvSpPr>
        <p:spPr>
          <a:xfrm>
            <a:off x="154215" y="6292352"/>
            <a:ext cx="4722312" cy="369332"/>
          </a:xfrm>
          <a:prstGeom prst="rect">
            <a:avLst/>
          </a:prstGeom>
          <a:solidFill>
            <a:srgbClr val="728FA5"/>
          </a:solidFill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M. Alfonzo, C. </a:t>
            </a:r>
            <a:r>
              <a:rPr lang="it-IT" err="1">
                <a:solidFill>
                  <a:schemeClr val="bg1"/>
                </a:solidFill>
              </a:rPr>
              <a:t>Canavate</a:t>
            </a:r>
            <a:r>
              <a:rPr lang="it-IT">
                <a:solidFill>
                  <a:schemeClr val="bg1"/>
                </a:solidFill>
              </a:rPr>
              <a:t>, P. </a:t>
            </a:r>
            <a:r>
              <a:rPr lang="it-IT" err="1">
                <a:solidFill>
                  <a:schemeClr val="bg1"/>
                </a:solidFill>
              </a:rPr>
              <a:t>Franke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15" name="CasellaDiTesto 10">
            <a:extLst>
              <a:ext uri="{FF2B5EF4-FFF2-40B4-BE49-F238E27FC236}">
                <a16:creationId xmlns:a16="http://schemas.microsoft.com/office/drawing/2014/main" id="{253FA75F-C051-A02C-DD23-8EAA75E02D90}"/>
              </a:ext>
            </a:extLst>
          </p:cNvPr>
          <p:cNvSpPr txBox="1"/>
          <p:nvPr/>
        </p:nvSpPr>
        <p:spPr>
          <a:xfrm>
            <a:off x="515938" y="1343022"/>
            <a:ext cx="5253785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/>
              <a:t>Best for </a:t>
            </a:r>
            <a:r>
              <a:rPr lang="it-IT" sz="2000" b="1" err="1"/>
              <a:t>Unsupervised</a:t>
            </a:r>
            <a:r>
              <a:rPr lang="it-IT" sz="2000" b="1"/>
              <a:t> Learning: K-</a:t>
            </a:r>
            <a:r>
              <a:rPr lang="it-IT" sz="2000" b="1" err="1"/>
              <a:t>means</a:t>
            </a:r>
            <a:endParaRPr lang="it-IT" sz="2000" b="1"/>
          </a:p>
          <a:p>
            <a:endParaRPr lang="it-IT" sz="2000" b="1"/>
          </a:p>
          <a:p>
            <a:endParaRPr lang="it-IT" sz="2000" b="1"/>
          </a:p>
          <a:p>
            <a:endParaRPr lang="it-IT" sz="2000" b="1"/>
          </a:p>
          <a:p>
            <a:endParaRPr lang="it-IT" sz="2000" b="1"/>
          </a:p>
          <a:p>
            <a:endParaRPr lang="it-IT" sz="2000" b="1"/>
          </a:p>
          <a:p>
            <a:endParaRPr lang="it-IT" sz="2000" b="1"/>
          </a:p>
          <a:p>
            <a:r>
              <a:rPr lang="it-IT" sz="2000" err="1"/>
              <a:t>Adjusted</a:t>
            </a:r>
            <a:r>
              <a:rPr lang="it-IT" sz="2000"/>
              <a:t> Rand Index: 	0.27</a:t>
            </a:r>
          </a:p>
          <a:p>
            <a:endParaRPr lang="it-IT" sz="2000"/>
          </a:p>
          <a:p>
            <a:r>
              <a:rPr lang="it-IT" sz="2000" err="1"/>
              <a:t>Normalized</a:t>
            </a:r>
            <a:r>
              <a:rPr lang="it-IT" sz="2000"/>
              <a:t> </a:t>
            </a:r>
            <a:r>
              <a:rPr lang="it-IT" sz="2000" err="1"/>
              <a:t>Mutual</a:t>
            </a:r>
            <a:r>
              <a:rPr lang="it-IT" sz="2000"/>
              <a:t> </a:t>
            </a:r>
          </a:p>
          <a:p>
            <a:r>
              <a:rPr lang="it-IT" sz="2000"/>
              <a:t>Information: 		0.54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B7A03A9-BF97-4458-BAF5-00BF016FC5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1637" y="1790162"/>
            <a:ext cx="5204425" cy="3599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olo 1">
            <a:extLst>
              <a:ext uri="{FF2B5EF4-FFF2-40B4-BE49-F238E27FC236}">
                <a16:creationId xmlns:a16="http://schemas.microsoft.com/office/drawing/2014/main" id="{129C5AA6-6278-347A-6EF7-C1D5778DE4B0}"/>
              </a:ext>
            </a:extLst>
          </p:cNvPr>
          <p:cNvSpPr txBox="1">
            <a:spLocks/>
          </p:cNvSpPr>
          <p:nvPr/>
        </p:nvSpPr>
        <p:spPr>
          <a:xfrm>
            <a:off x="384695" y="139166"/>
            <a:ext cx="11441391" cy="840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0" indent="0" algn="l" defTabSz="4572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it-IT" sz="3200"/>
              <a:t>Machine Learning – Metrics and Resul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7FAA813-E6DD-94B5-9EFA-E8D8C5AA136D}"/>
              </a:ext>
            </a:extLst>
          </p:cNvPr>
          <p:cNvSpPr txBox="1"/>
          <p:nvPr/>
        </p:nvSpPr>
        <p:spPr>
          <a:xfrm>
            <a:off x="7133366" y="5621675"/>
            <a:ext cx="415566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800" b="1"/>
              <a:t>WCSS: </a:t>
            </a:r>
            <a:r>
              <a:rPr lang="en-US"/>
              <a:t>W</a:t>
            </a:r>
            <a:r>
              <a:rPr lang="en-US" sz="1800"/>
              <a:t>ithin cluster sum of squar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8833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tangolo 13">
            <a:extLst>
              <a:ext uri="{FF2B5EF4-FFF2-40B4-BE49-F238E27FC236}">
                <a16:creationId xmlns:a16="http://schemas.microsoft.com/office/drawing/2014/main" id="{5DB189DC-8295-C6B1-4007-455879F86605}"/>
              </a:ext>
            </a:extLst>
          </p:cNvPr>
          <p:cNvSpPr/>
          <p:nvPr/>
        </p:nvSpPr>
        <p:spPr>
          <a:xfrm>
            <a:off x="8401812" y="5364290"/>
            <a:ext cx="1863519" cy="5245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Accuracy: 100%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076767-404E-D5C7-DF70-016A75DEB2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6076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3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0076767-404E-D5C7-DF70-016A75DEB2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482C885E-E343-C09D-85B0-300257930BDE}"/>
              </a:ext>
            </a:extLst>
          </p:cNvPr>
          <p:cNvSpPr txBox="1"/>
          <p:nvPr/>
        </p:nvSpPr>
        <p:spPr>
          <a:xfrm>
            <a:off x="154215" y="6292352"/>
            <a:ext cx="4722312" cy="369332"/>
          </a:xfrm>
          <a:prstGeom prst="rect">
            <a:avLst/>
          </a:prstGeom>
          <a:solidFill>
            <a:srgbClr val="728FA5"/>
          </a:solidFill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M. Alfonzo, C. </a:t>
            </a:r>
            <a:r>
              <a:rPr lang="it-IT" err="1">
                <a:solidFill>
                  <a:schemeClr val="bg1"/>
                </a:solidFill>
              </a:rPr>
              <a:t>Canavate</a:t>
            </a:r>
            <a:r>
              <a:rPr lang="it-IT">
                <a:solidFill>
                  <a:schemeClr val="bg1"/>
                </a:solidFill>
              </a:rPr>
              <a:t>, P. </a:t>
            </a:r>
            <a:r>
              <a:rPr lang="it-IT" err="1">
                <a:solidFill>
                  <a:schemeClr val="bg1"/>
                </a:solidFill>
              </a:rPr>
              <a:t>Franke</a:t>
            </a:r>
            <a:endParaRPr lang="it-IT">
              <a:solidFill>
                <a:schemeClr val="bg1"/>
              </a:solidFill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E36192BC-8214-BAD3-1B20-BC464A0030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195" y="1895457"/>
            <a:ext cx="4777740" cy="3533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E3F2E010-BE34-5D0B-34D1-38AD0774516A}"/>
              </a:ext>
            </a:extLst>
          </p:cNvPr>
          <p:cNvSpPr>
            <a:spLocks/>
          </p:cNvSpPr>
          <p:nvPr/>
        </p:nvSpPr>
        <p:spPr>
          <a:xfrm>
            <a:off x="1107634" y="4162911"/>
            <a:ext cx="990829" cy="810677"/>
          </a:xfrm>
          <a:prstGeom prst="rect">
            <a:avLst/>
          </a:prstGeom>
          <a:noFill/>
          <a:ln w="25146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0701" tIns="60350" rIns="120701" bIns="60350"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1A9CE7D-64FB-CFD4-34AA-ABC88DE37260}"/>
              </a:ext>
            </a:extLst>
          </p:cNvPr>
          <p:cNvSpPr>
            <a:spLocks/>
          </p:cNvSpPr>
          <p:nvPr/>
        </p:nvSpPr>
        <p:spPr>
          <a:xfrm>
            <a:off x="2172278" y="3982762"/>
            <a:ext cx="990829" cy="990826"/>
          </a:xfrm>
          <a:prstGeom prst="rect">
            <a:avLst/>
          </a:prstGeom>
          <a:noFill/>
          <a:ln w="25146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0701" tIns="60350" rIns="120701" bIns="60350"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11F8991-745B-17A3-6093-3AE85C37EC02}"/>
              </a:ext>
            </a:extLst>
          </p:cNvPr>
          <p:cNvSpPr>
            <a:spLocks/>
          </p:cNvSpPr>
          <p:nvPr/>
        </p:nvSpPr>
        <p:spPr>
          <a:xfrm>
            <a:off x="3217497" y="4066833"/>
            <a:ext cx="990829" cy="906755"/>
          </a:xfrm>
          <a:prstGeom prst="rect">
            <a:avLst/>
          </a:prstGeom>
          <a:noFill/>
          <a:ln w="25146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0701" tIns="60350" rIns="120701" bIns="60350"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9603934-10C6-4B4F-46EC-2FBC67A7EAE7}"/>
              </a:ext>
            </a:extLst>
          </p:cNvPr>
          <p:cNvSpPr>
            <a:spLocks/>
          </p:cNvSpPr>
          <p:nvPr/>
        </p:nvSpPr>
        <p:spPr>
          <a:xfrm>
            <a:off x="4282033" y="3898691"/>
            <a:ext cx="990829" cy="1074897"/>
          </a:xfrm>
          <a:prstGeom prst="rect">
            <a:avLst/>
          </a:prstGeom>
          <a:noFill/>
          <a:ln w="25146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0701" tIns="60350" rIns="120701" bIns="60350" rtlCol="0" anchor="ctr"/>
          <a:lstStyle/>
          <a:p>
            <a:pPr algn="ctr"/>
            <a:endParaRPr lang="en-US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7C7FAEAF-F0B4-1E97-520D-FB3F569E5C95}"/>
              </a:ext>
            </a:extLst>
          </p:cNvPr>
          <p:cNvSpPr/>
          <p:nvPr/>
        </p:nvSpPr>
        <p:spPr>
          <a:xfrm>
            <a:off x="5885374" y="3088352"/>
            <a:ext cx="804698" cy="665426"/>
          </a:xfrm>
          <a:prstGeom prst="rightArrow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FAF6E5E-3396-F0E7-A0DE-B6E26129F48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88840" y="1895457"/>
            <a:ext cx="3901899" cy="3357218"/>
          </a:xfrm>
          <a:prstGeom prst="rect">
            <a:avLst/>
          </a:prstGeom>
        </p:spPr>
      </p:pic>
      <p:sp>
        <p:nvSpPr>
          <p:cNvPr id="20" name="Titolo 1">
            <a:extLst>
              <a:ext uri="{FF2B5EF4-FFF2-40B4-BE49-F238E27FC236}">
                <a16:creationId xmlns:a16="http://schemas.microsoft.com/office/drawing/2014/main" id="{7CE5E5B6-C661-F4E3-8799-73B35B1DF754}"/>
              </a:ext>
            </a:extLst>
          </p:cNvPr>
          <p:cNvSpPr txBox="1">
            <a:spLocks/>
          </p:cNvSpPr>
          <p:nvPr/>
        </p:nvSpPr>
        <p:spPr>
          <a:xfrm>
            <a:off x="384695" y="139166"/>
            <a:ext cx="11441391" cy="840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0" indent="0" algn="l" defTabSz="4572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it-IT" sz="3200"/>
              <a:t>Machine Learning – Grouping to Master positions</a:t>
            </a:r>
          </a:p>
        </p:txBody>
      </p:sp>
    </p:spTree>
    <p:extLst>
      <p:ext uri="{BB962C8B-B14F-4D97-AF65-F5344CB8AC3E}">
        <p14:creationId xmlns:p14="http://schemas.microsoft.com/office/powerpoint/2010/main" val="151799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 animBg="1"/>
      <p:bldP spid="1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 err="1"/>
              <a:t>Introduction</a:t>
            </a:r>
            <a:endParaRPr lang="it-IT" sz="3200"/>
          </a:p>
        </p:txBody>
      </p:sp>
      <p:grpSp>
        <p:nvGrpSpPr>
          <p:cNvPr id="37" name="Gruppo 36">
            <a:extLst>
              <a:ext uri="{FF2B5EF4-FFF2-40B4-BE49-F238E27FC236}">
                <a16:creationId xmlns:a16="http://schemas.microsoft.com/office/drawing/2014/main" id="{0E9CB03F-D6EC-4C7C-94EA-303A9BA7E644}"/>
              </a:ext>
            </a:extLst>
          </p:cNvPr>
          <p:cNvGrpSpPr/>
          <p:nvPr/>
        </p:nvGrpSpPr>
        <p:grpSpPr>
          <a:xfrm>
            <a:off x="0" y="1517919"/>
            <a:ext cx="11188667" cy="1761257"/>
            <a:chOff x="-16502" y="1476766"/>
            <a:chExt cx="11468868" cy="1761257"/>
          </a:xfrm>
        </p:grpSpPr>
        <p:grpSp>
          <p:nvGrpSpPr>
            <p:cNvPr id="36" name="Gruppo 35">
              <a:extLst>
                <a:ext uri="{FF2B5EF4-FFF2-40B4-BE49-F238E27FC236}">
                  <a16:creationId xmlns:a16="http://schemas.microsoft.com/office/drawing/2014/main" id="{671C11D9-5866-4A9B-A229-61AC244E68A2}"/>
                </a:ext>
              </a:extLst>
            </p:cNvPr>
            <p:cNvGrpSpPr/>
            <p:nvPr/>
          </p:nvGrpSpPr>
          <p:grpSpPr>
            <a:xfrm>
              <a:off x="-16502" y="1769577"/>
              <a:ext cx="11468868" cy="1468446"/>
              <a:chOff x="-16502" y="1769577"/>
              <a:chExt cx="11468868" cy="1468446"/>
            </a:xfrm>
          </p:grpSpPr>
          <p:grpSp>
            <p:nvGrpSpPr>
              <p:cNvPr id="26" name="Gruppo 25">
                <a:extLst>
                  <a:ext uri="{FF2B5EF4-FFF2-40B4-BE49-F238E27FC236}">
                    <a16:creationId xmlns:a16="http://schemas.microsoft.com/office/drawing/2014/main" id="{BBC5DF4D-53F6-4A56-A13E-B2295516FFA9}"/>
                  </a:ext>
                </a:extLst>
              </p:cNvPr>
              <p:cNvGrpSpPr/>
              <p:nvPr/>
            </p:nvGrpSpPr>
            <p:grpSpPr>
              <a:xfrm>
                <a:off x="-16502" y="1769577"/>
                <a:ext cx="11468868" cy="1468446"/>
                <a:chOff x="-75556" y="1692735"/>
                <a:chExt cx="11468868" cy="1468447"/>
              </a:xfrm>
            </p:grpSpPr>
            <p:sp>
              <p:nvSpPr>
                <p:cNvPr id="24" name="Ovale 23">
                  <a:extLst>
                    <a:ext uri="{FF2B5EF4-FFF2-40B4-BE49-F238E27FC236}">
                      <a16:creationId xmlns:a16="http://schemas.microsoft.com/office/drawing/2014/main" id="{4EBB6D07-156C-4E5D-AE1A-2CE41B2C1302}"/>
                    </a:ext>
                  </a:extLst>
                </p:cNvPr>
                <p:cNvSpPr/>
                <p:nvPr/>
              </p:nvSpPr>
              <p:spPr>
                <a:xfrm>
                  <a:off x="376695" y="1692735"/>
                  <a:ext cx="1520637" cy="1468447"/>
                </a:xfrm>
                <a:prstGeom prst="ellipse">
                  <a:avLst/>
                </a:prstGeom>
                <a:solidFill>
                  <a:srgbClr val="DCE6F2"/>
                </a:solidFill>
                <a:ln>
                  <a:noFill/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11" name="Rettangolo 10">
                  <a:extLst>
                    <a:ext uri="{FF2B5EF4-FFF2-40B4-BE49-F238E27FC236}">
                      <a16:creationId xmlns:a16="http://schemas.microsoft.com/office/drawing/2014/main" id="{0EDC8AB5-9102-4AC1-9C97-57E3B92FD608}"/>
                    </a:ext>
                  </a:extLst>
                </p:cNvPr>
                <p:cNvSpPr/>
                <p:nvPr/>
              </p:nvSpPr>
              <p:spPr>
                <a:xfrm>
                  <a:off x="-75556" y="1900917"/>
                  <a:ext cx="11468868" cy="1097281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</p:grpSp>
          <p:pic>
            <p:nvPicPr>
              <p:cNvPr id="10" name="Elemento grafico 9" descr="Tiro a segno">
                <a:extLst>
                  <a:ext uri="{FF2B5EF4-FFF2-40B4-BE49-F238E27FC236}">
                    <a16:creationId xmlns:a16="http://schemas.microsoft.com/office/drawing/2014/main" id="{BB0CA36A-8102-48CC-98DB-5D0FD58CDE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659099" y="1938431"/>
                <a:ext cx="1093884" cy="1067159"/>
              </a:xfrm>
              <a:prstGeom prst="rect">
                <a:avLst/>
              </a:prstGeom>
            </p:spPr>
          </p:pic>
        </p:grpSp>
        <p:sp>
          <p:nvSpPr>
            <p:cNvPr id="21" name="CasellaDiTesto 20">
              <a:extLst>
                <a:ext uri="{FF2B5EF4-FFF2-40B4-BE49-F238E27FC236}">
                  <a16:creationId xmlns:a16="http://schemas.microsoft.com/office/drawing/2014/main" id="{6C64F136-CFE1-4313-96C3-2810D0C0ECC1}"/>
                </a:ext>
              </a:extLst>
            </p:cNvPr>
            <p:cNvSpPr txBox="1"/>
            <p:nvPr/>
          </p:nvSpPr>
          <p:spPr>
            <a:xfrm>
              <a:off x="1734129" y="1476766"/>
              <a:ext cx="163221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2400" b="1" err="1"/>
                <a:t>Objective</a:t>
              </a:r>
              <a:endParaRPr lang="it-IT" sz="2400" b="1"/>
            </a:p>
          </p:txBody>
        </p:sp>
      </p:grp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A52D73B6-30D2-4202-BE8D-52E359300CBC}"/>
              </a:ext>
            </a:extLst>
          </p:cNvPr>
          <p:cNvSpPr txBox="1"/>
          <p:nvPr/>
        </p:nvSpPr>
        <p:spPr>
          <a:xfrm>
            <a:off x="1876673" y="2333810"/>
            <a:ext cx="98741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err="1">
                <a:ea typeface="+mn-lt"/>
                <a:cs typeface="+mn-lt"/>
              </a:rPr>
              <a:t>Classify</a:t>
            </a:r>
            <a:r>
              <a:rPr lang="it-IT">
                <a:ea typeface="+mn-lt"/>
                <a:cs typeface="+mn-lt"/>
              </a:rPr>
              <a:t> </a:t>
            </a:r>
            <a:r>
              <a:rPr lang="it-IT" b="1">
                <a:ea typeface="+mn-lt"/>
                <a:cs typeface="+mn-lt"/>
              </a:rPr>
              <a:t>12 </a:t>
            </a:r>
            <a:r>
              <a:rPr lang="it-IT" b="1" err="1">
                <a:ea typeface="+mn-lt"/>
                <a:cs typeface="+mn-lt"/>
              </a:rPr>
              <a:t>distinct</a:t>
            </a:r>
            <a:r>
              <a:rPr lang="it-IT" b="1">
                <a:ea typeface="+mn-lt"/>
                <a:cs typeface="+mn-lt"/>
              </a:rPr>
              <a:t> </a:t>
            </a:r>
            <a:r>
              <a:rPr lang="it-IT" b="1" err="1">
                <a:ea typeface="+mn-lt"/>
                <a:cs typeface="+mn-lt"/>
              </a:rPr>
              <a:t>sleep</a:t>
            </a:r>
            <a:r>
              <a:rPr lang="it-IT" b="1">
                <a:ea typeface="+mn-lt"/>
                <a:cs typeface="+mn-lt"/>
              </a:rPr>
              <a:t> positions</a:t>
            </a:r>
            <a:r>
              <a:rPr lang="it-IT">
                <a:ea typeface="+mn-lt"/>
                <a:cs typeface="+mn-lt"/>
              </a:rPr>
              <a:t> </a:t>
            </a:r>
            <a:r>
              <a:rPr lang="it-IT" err="1">
                <a:ea typeface="+mn-lt"/>
                <a:cs typeface="+mn-lt"/>
              </a:rPr>
              <a:t>based</a:t>
            </a:r>
            <a:r>
              <a:rPr lang="it-IT">
                <a:ea typeface="+mn-lt"/>
                <a:cs typeface="+mn-lt"/>
              </a:rPr>
              <a:t> on data </a:t>
            </a:r>
            <a:r>
              <a:rPr lang="it-IT" err="1">
                <a:ea typeface="+mn-lt"/>
                <a:cs typeface="+mn-lt"/>
              </a:rPr>
              <a:t>gathered</a:t>
            </a:r>
            <a:r>
              <a:rPr lang="it-IT">
                <a:ea typeface="+mn-lt"/>
                <a:cs typeface="+mn-lt"/>
              </a:rPr>
              <a:t> from </a:t>
            </a:r>
            <a:r>
              <a:rPr lang="it-IT" b="1" err="1">
                <a:ea typeface="+mn-lt"/>
                <a:cs typeface="+mn-lt"/>
              </a:rPr>
              <a:t>two</a:t>
            </a:r>
            <a:r>
              <a:rPr lang="it-IT">
                <a:ea typeface="+mn-lt"/>
                <a:cs typeface="+mn-lt"/>
              </a:rPr>
              <a:t> </a:t>
            </a:r>
            <a:r>
              <a:rPr lang="it-IT" b="1" err="1">
                <a:ea typeface="+mn-lt"/>
                <a:cs typeface="+mn-lt"/>
              </a:rPr>
              <a:t>accelerometers</a:t>
            </a:r>
            <a:endParaRPr lang="it-IT" b="1">
              <a:ea typeface="+mn-lt"/>
              <a:cs typeface="+mn-lt"/>
            </a:endParaRPr>
          </a:p>
          <a:p>
            <a:endParaRPr lang="it-IT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827646A4-F805-437B-B8F6-A36C0275D72A}"/>
              </a:ext>
            </a:extLst>
          </p:cNvPr>
          <p:cNvSpPr txBox="1"/>
          <p:nvPr/>
        </p:nvSpPr>
        <p:spPr>
          <a:xfrm>
            <a:off x="154215" y="6292352"/>
            <a:ext cx="4722312" cy="369332"/>
          </a:xfrm>
          <a:prstGeom prst="rect">
            <a:avLst/>
          </a:prstGeom>
          <a:solidFill>
            <a:srgbClr val="728FA5"/>
          </a:solidFill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M. Alfonzo, C. </a:t>
            </a:r>
            <a:r>
              <a:rPr lang="it-IT" err="1">
                <a:solidFill>
                  <a:schemeClr val="bg1"/>
                </a:solidFill>
              </a:rPr>
              <a:t>Canavate</a:t>
            </a:r>
            <a:r>
              <a:rPr lang="it-IT">
                <a:solidFill>
                  <a:schemeClr val="bg1"/>
                </a:solidFill>
              </a:rPr>
              <a:t>, P. </a:t>
            </a:r>
            <a:r>
              <a:rPr lang="it-IT" err="1">
                <a:solidFill>
                  <a:schemeClr val="bg1"/>
                </a:solidFill>
              </a:rPr>
              <a:t>Franke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19" name="Rettangolo 10">
            <a:extLst>
              <a:ext uri="{FF2B5EF4-FFF2-40B4-BE49-F238E27FC236}">
                <a16:creationId xmlns:a16="http://schemas.microsoft.com/office/drawing/2014/main" id="{8A91FF3E-518E-CCCB-F4CE-AA5F8B446701}"/>
              </a:ext>
            </a:extLst>
          </p:cNvPr>
          <p:cNvSpPr/>
          <p:nvPr/>
        </p:nvSpPr>
        <p:spPr>
          <a:xfrm>
            <a:off x="1012722" y="4152293"/>
            <a:ext cx="11188667" cy="10972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0" name="Ovale 23">
            <a:extLst>
              <a:ext uri="{FF2B5EF4-FFF2-40B4-BE49-F238E27FC236}">
                <a16:creationId xmlns:a16="http://schemas.microsoft.com/office/drawing/2014/main" id="{CF691924-7C39-7383-42C6-7C8E1C632BFA}"/>
              </a:ext>
            </a:extLst>
          </p:cNvPr>
          <p:cNvSpPr/>
          <p:nvPr/>
        </p:nvSpPr>
        <p:spPr>
          <a:xfrm>
            <a:off x="10342600" y="3966710"/>
            <a:ext cx="1483486" cy="1468446"/>
          </a:xfrm>
          <a:prstGeom prst="ellipse">
            <a:avLst/>
          </a:prstGeom>
          <a:solidFill>
            <a:srgbClr val="DCE6F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3" name="Elemento grafico 8" descr="Robot con riempimento a tinta unita">
            <a:extLst>
              <a:ext uri="{FF2B5EF4-FFF2-40B4-BE49-F238E27FC236}">
                <a16:creationId xmlns:a16="http://schemas.microsoft.com/office/drawing/2014/main" id="{B1EDBA35-4997-A2D5-CDEF-D328FDCFECD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3116" y="4214237"/>
            <a:ext cx="914400" cy="914400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555DA3E5-CE2F-ABE5-DA51-151FF81544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8923" y="3527561"/>
            <a:ext cx="1648420" cy="2318964"/>
          </a:xfrm>
          <a:prstGeom prst="rect">
            <a:avLst/>
          </a:prstGeom>
        </p:spPr>
      </p:pic>
      <p:sp>
        <p:nvSpPr>
          <p:cNvPr id="25" name="CasellaDiTesto 21">
            <a:extLst>
              <a:ext uri="{FF2B5EF4-FFF2-40B4-BE49-F238E27FC236}">
                <a16:creationId xmlns:a16="http://schemas.microsoft.com/office/drawing/2014/main" id="{F1D6DCC0-AD25-0179-2657-22FDEC1879D0}"/>
              </a:ext>
            </a:extLst>
          </p:cNvPr>
          <p:cNvSpPr txBox="1"/>
          <p:nvPr/>
        </p:nvSpPr>
        <p:spPr>
          <a:xfrm>
            <a:off x="4126126" y="4482306"/>
            <a:ext cx="70625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>
                <a:ea typeface="+mn-lt"/>
                <a:cs typeface="+mn-lt"/>
              </a:rPr>
              <a:t>Using </a:t>
            </a:r>
            <a:r>
              <a:rPr lang="it-IT" b="1">
                <a:ea typeface="+mn-lt"/>
                <a:cs typeface="+mn-lt"/>
              </a:rPr>
              <a:t>supervised</a:t>
            </a:r>
            <a:r>
              <a:rPr lang="it-IT">
                <a:ea typeface="+mn-lt"/>
                <a:cs typeface="+mn-lt"/>
              </a:rPr>
              <a:t> and </a:t>
            </a:r>
            <a:r>
              <a:rPr lang="it-IT" b="1">
                <a:ea typeface="+mn-lt"/>
                <a:cs typeface="+mn-lt"/>
              </a:rPr>
              <a:t>unsupervised</a:t>
            </a:r>
            <a:r>
              <a:rPr lang="it-IT">
                <a:ea typeface="+mn-lt"/>
                <a:cs typeface="+mn-lt"/>
              </a:rPr>
              <a:t> </a:t>
            </a:r>
            <a:r>
              <a:rPr lang="it-IT" b="1">
                <a:ea typeface="+mn-lt"/>
                <a:cs typeface="+mn-lt"/>
              </a:rPr>
              <a:t>machine learning </a:t>
            </a:r>
            <a:r>
              <a:rPr lang="it-IT">
                <a:ea typeface="+mn-lt"/>
                <a:cs typeface="+mn-lt"/>
              </a:rPr>
              <a:t>techniques</a:t>
            </a:r>
            <a:endParaRPr lang="it-IT" b="1">
              <a:ea typeface="+mn-lt"/>
              <a:cs typeface="+mn-lt"/>
            </a:endParaRPr>
          </a:p>
          <a:p>
            <a:endParaRPr lang="it-IT"/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AF0D1A7D-E092-DE22-9E83-0B3B5D5A839F}"/>
              </a:ext>
            </a:extLst>
          </p:cNvPr>
          <p:cNvSpPr txBox="1"/>
          <p:nvPr/>
        </p:nvSpPr>
        <p:spPr>
          <a:xfrm>
            <a:off x="8629096" y="3687262"/>
            <a:ext cx="18909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err="1"/>
              <a:t>Methodology</a:t>
            </a:r>
            <a:endParaRPr lang="it-IT" sz="2400" b="1"/>
          </a:p>
        </p:txBody>
      </p:sp>
    </p:spTree>
    <p:extLst>
      <p:ext uri="{BB962C8B-B14F-4D97-AF65-F5344CB8AC3E}">
        <p14:creationId xmlns:p14="http://schemas.microsoft.com/office/powerpoint/2010/main" val="21613048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9EA4A66-1C4C-444A-471A-5A1E6CFD05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7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9EA4A66-1C4C-444A-471A-5A1E6CFD05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482C885E-E343-C09D-85B0-300257930BDE}"/>
              </a:ext>
            </a:extLst>
          </p:cNvPr>
          <p:cNvSpPr txBox="1"/>
          <p:nvPr/>
        </p:nvSpPr>
        <p:spPr>
          <a:xfrm>
            <a:off x="154215" y="6292352"/>
            <a:ext cx="4722312" cy="369332"/>
          </a:xfrm>
          <a:prstGeom prst="rect">
            <a:avLst/>
          </a:prstGeom>
          <a:solidFill>
            <a:srgbClr val="728FA5"/>
          </a:solidFill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M. Alfonzo, C. </a:t>
            </a:r>
            <a:r>
              <a:rPr lang="it-IT" err="1">
                <a:solidFill>
                  <a:schemeClr val="bg1"/>
                </a:solidFill>
              </a:rPr>
              <a:t>Canavate</a:t>
            </a:r>
            <a:r>
              <a:rPr lang="it-IT">
                <a:solidFill>
                  <a:schemeClr val="bg1"/>
                </a:solidFill>
              </a:rPr>
              <a:t>, P. </a:t>
            </a:r>
            <a:r>
              <a:rPr lang="it-IT" err="1">
                <a:solidFill>
                  <a:schemeClr val="bg1"/>
                </a:solidFill>
              </a:rPr>
              <a:t>Franke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8" name="Titolo 1">
            <a:extLst>
              <a:ext uri="{FF2B5EF4-FFF2-40B4-BE49-F238E27FC236}">
                <a16:creationId xmlns:a16="http://schemas.microsoft.com/office/drawing/2014/main" id="{D5C95C34-817F-6ADC-5238-59A468DE9209}"/>
              </a:ext>
            </a:extLst>
          </p:cNvPr>
          <p:cNvSpPr txBox="1">
            <a:spLocks/>
          </p:cNvSpPr>
          <p:nvPr/>
        </p:nvSpPr>
        <p:spPr>
          <a:xfrm>
            <a:off x="384695" y="139166"/>
            <a:ext cx="11441391" cy="840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0" indent="0" algn="l" defTabSz="4572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it-IT" sz="3200"/>
              <a:t>Future developments</a:t>
            </a:r>
          </a:p>
        </p:txBody>
      </p:sp>
      <p:grpSp>
        <p:nvGrpSpPr>
          <p:cNvPr id="11" name="Gruppo 25">
            <a:extLst>
              <a:ext uri="{FF2B5EF4-FFF2-40B4-BE49-F238E27FC236}">
                <a16:creationId xmlns:a16="http://schemas.microsoft.com/office/drawing/2014/main" id="{49AF99FC-CDEE-0419-C75C-5A4476334A9C}"/>
              </a:ext>
            </a:extLst>
          </p:cNvPr>
          <p:cNvGrpSpPr/>
          <p:nvPr/>
        </p:nvGrpSpPr>
        <p:grpSpPr>
          <a:xfrm>
            <a:off x="0" y="3172054"/>
            <a:ext cx="11188666" cy="1067159"/>
            <a:chOff x="-75556" y="1692735"/>
            <a:chExt cx="11468868" cy="1067160"/>
          </a:xfrm>
        </p:grpSpPr>
        <p:sp>
          <p:nvSpPr>
            <p:cNvPr id="13" name="Ovale 23">
              <a:extLst>
                <a:ext uri="{FF2B5EF4-FFF2-40B4-BE49-F238E27FC236}">
                  <a16:creationId xmlns:a16="http://schemas.microsoft.com/office/drawing/2014/main" id="{5D2B6395-9C8F-00DB-750B-651F4CFD2A14}"/>
                </a:ext>
              </a:extLst>
            </p:cNvPr>
            <p:cNvSpPr/>
            <p:nvPr/>
          </p:nvSpPr>
          <p:spPr>
            <a:xfrm>
              <a:off x="376695" y="1692735"/>
              <a:ext cx="1105088" cy="1067160"/>
            </a:xfrm>
            <a:prstGeom prst="ellipse">
              <a:avLst/>
            </a:prstGeom>
            <a:solidFill>
              <a:srgbClr val="DCE6F2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4" name="Rettangolo 10">
              <a:extLst>
                <a:ext uri="{FF2B5EF4-FFF2-40B4-BE49-F238E27FC236}">
                  <a16:creationId xmlns:a16="http://schemas.microsoft.com/office/drawing/2014/main" id="{02CBACF7-A5A0-AB3B-6E93-18ED162F5C31}"/>
                </a:ext>
              </a:extLst>
            </p:cNvPr>
            <p:cNvSpPr/>
            <p:nvPr/>
          </p:nvSpPr>
          <p:spPr>
            <a:xfrm>
              <a:off x="-75556" y="1900917"/>
              <a:ext cx="11468868" cy="6300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grpSp>
        <p:nvGrpSpPr>
          <p:cNvPr id="15" name="Gruppo 25">
            <a:extLst>
              <a:ext uri="{FF2B5EF4-FFF2-40B4-BE49-F238E27FC236}">
                <a16:creationId xmlns:a16="http://schemas.microsoft.com/office/drawing/2014/main" id="{C6528EDE-4862-3509-90ED-3AAC19D7981E}"/>
              </a:ext>
            </a:extLst>
          </p:cNvPr>
          <p:cNvGrpSpPr/>
          <p:nvPr/>
        </p:nvGrpSpPr>
        <p:grpSpPr>
          <a:xfrm>
            <a:off x="980246" y="1521684"/>
            <a:ext cx="11211754" cy="1067159"/>
            <a:chOff x="-75556" y="1692735"/>
            <a:chExt cx="11468868" cy="1067160"/>
          </a:xfrm>
        </p:grpSpPr>
        <p:sp>
          <p:nvSpPr>
            <p:cNvPr id="16" name="Ovale 23">
              <a:extLst>
                <a:ext uri="{FF2B5EF4-FFF2-40B4-BE49-F238E27FC236}">
                  <a16:creationId xmlns:a16="http://schemas.microsoft.com/office/drawing/2014/main" id="{50DCB150-5B9A-80AD-03DB-6FB2D4CDB867}"/>
                </a:ext>
              </a:extLst>
            </p:cNvPr>
            <p:cNvSpPr/>
            <p:nvPr/>
          </p:nvSpPr>
          <p:spPr>
            <a:xfrm>
              <a:off x="9812308" y="1692735"/>
              <a:ext cx="1105088" cy="1067160"/>
            </a:xfrm>
            <a:prstGeom prst="ellipse">
              <a:avLst/>
            </a:prstGeom>
            <a:solidFill>
              <a:srgbClr val="DCE6F2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8" name="Rettangolo 10">
              <a:extLst>
                <a:ext uri="{FF2B5EF4-FFF2-40B4-BE49-F238E27FC236}">
                  <a16:creationId xmlns:a16="http://schemas.microsoft.com/office/drawing/2014/main" id="{16BFB896-1407-4646-6C9C-29D5E69FF7B7}"/>
                </a:ext>
              </a:extLst>
            </p:cNvPr>
            <p:cNvSpPr/>
            <p:nvPr/>
          </p:nvSpPr>
          <p:spPr>
            <a:xfrm>
              <a:off x="-75556" y="1900917"/>
              <a:ext cx="11468868" cy="6300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grpSp>
        <p:nvGrpSpPr>
          <p:cNvPr id="22" name="Gruppo 25">
            <a:extLst>
              <a:ext uri="{FF2B5EF4-FFF2-40B4-BE49-F238E27FC236}">
                <a16:creationId xmlns:a16="http://schemas.microsoft.com/office/drawing/2014/main" id="{2CBBE151-03C1-BBFC-DDBC-0E232DF6DD40}"/>
              </a:ext>
            </a:extLst>
          </p:cNvPr>
          <p:cNvGrpSpPr/>
          <p:nvPr/>
        </p:nvGrpSpPr>
        <p:grpSpPr>
          <a:xfrm>
            <a:off x="980246" y="4764422"/>
            <a:ext cx="11211754" cy="1067159"/>
            <a:chOff x="-75556" y="1692735"/>
            <a:chExt cx="11468868" cy="1067160"/>
          </a:xfrm>
        </p:grpSpPr>
        <p:sp>
          <p:nvSpPr>
            <p:cNvPr id="23" name="Ovale 23">
              <a:extLst>
                <a:ext uri="{FF2B5EF4-FFF2-40B4-BE49-F238E27FC236}">
                  <a16:creationId xmlns:a16="http://schemas.microsoft.com/office/drawing/2014/main" id="{9203EFAA-120A-5AF7-2F76-B56EA382F175}"/>
                </a:ext>
              </a:extLst>
            </p:cNvPr>
            <p:cNvSpPr/>
            <p:nvPr/>
          </p:nvSpPr>
          <p:spPr>
            <a:xfrm>
              <a:off x="9812308" y="1692735"/>
              <a:ext cx="1105088" cy="1067160"/>
            </a:xfrm>
            <a:prstGeom prst="ellipse">
              <a:avLst/>
            </a:prstGeom>
            <a:solidFill>
              <a:srgbClr val="DCE6F2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4" name="Rettangolo 10">
              <a:extLst>
                <a:ext uri="{FF2B5EF4-FFF2-40B4-BE49-F238E27FC236}">
                  <a16:creationId xmlns:a16="http://schemas.microsoft.com/office/drawing/2014/main" id="{61192D0F-4F2C-A23F-5B03-C94B297C83D9}"/>
                </a:ext>
              </a:extLst>
            </p:cNvPr>
            <p:cNvSpPr/>
            <p:nvPr/>
          </p:nvSpPr>
          <p:spPr>
            <a:xfrm>
              <a:off x="-75556" y="1900917"/>
              <a:ext cx="11468868" cy="6300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pic>
        <p:nvPicPr>
          <p:cNvPr id="3" name="Graphique 2" descr="Base de données contour">
            <a:extLst>
              <a:ext uri="{FF2B5EF4-FFF2-40B4-BE49-F238E27FC236}">
                <a16:creationId xmlns:a16="http://schemas.microsoft.com/office/drawing/2014/main" id="{A6F11EA8-8985-0F08-3610-931242EF41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3386" y="3309531"/>
            <a:ext cx="733720" cy="733720"/>
          </a:xfrm>
          <a:prstGeom prst="rect">
            <a:avLst/>
          </a:prstGeom>
        </p:spPr>
      </p:pic>
      <p:sp>
        <p:nvSpPr>
          <p:cNvPr id="25" name="CasellaDiTesto 21">
            <a:extLst>
              <a:ext uri="{FF2B5EF4-FFF2-40B4-BE49-F238E27FC236}">
                <a16:creationId xmlns:a16="http://schemas.microsoft.com/office/drawing/2014/main" id="{69D96C75-BF63-B6B3-B66B-D9793B689002}"/>
              </a:ext>
            </a:extLst>
          </p:cNvPr>
          <p:cNvSpPr txBox="1"/>
          <p:nvPr/>
        </p:nvSpPr>
        <p:spPr>
          <a:xfrm>
            <a:off x="1691474" y="3483432"/>
            <a:ext cx="69151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>
                <a:ea typeface="+mn-lt"/>
                <a:cs typeface="+mn-lt"/>
              </a:rPr>
              <a:t>Gather </a:t>
            </a:r>
            <a:r>
              <a:rPr lang="it-IT" b="1">
                <a:ea typeface="+mn-lt"/>
                <a:cs typeface="+mn-lt"/>
              </a:rPr>
              <a:t>more</a:t>
            </a:r>
            <a:r>
              <a:rPr lang="it-IT">
                <a:ea typeface="+mn-lt"/>
                <a:cs typeface="+mn-lt"/>
              </a:rPr>
              <a:t> data (subjects </a:t>
            </a:r>
            <a:r>
              <a:rPr lang="it-IT" sz="1400">
                <a:ea typeface="+mn-lt"/>
                <a:cs typeface="+mn-lt"/>
              </a:rPr>
              <a:t>&amp;</a:t>
            </a:r>
            <a:r>
              <a:rPr lang="it-IT">
                <a:ea typeface="+mn-lt"/>
                <a:cs typeface="+mn-lt"/>
              </a:rPr>
              <a:t> sampling conditions)</a:t>
            </a:r>
            <a:endParaRPr lang="it-IT"/>
          </a:p>
        </p:txBody>
      </p:sp>
      <p:sp>
        <p:nvSpPr>
          <p:cNvPr id="26" name="CasellaDiTesto 21">
            <a:extLst>
              <a:ext uri="{FF2B5EF4-FFF2-40B4-BE49-F238E27FC236}">
                <a16:creationId xmlns:a16="http://schemas.microsoft.com/office/drawing/2014/main" id="{921ED534-E68C-A621-C921-2AEE032B8126}"/>
              </a:ext>
            </a:extLst>
          </p:cNvPr>
          <p:cNvSpPr txBox="1"/>
          <p:nvPr/>
        </p:nvSpPr>
        <p:spPr>
          <a:xfrm>
            <a:off x="4011584" y="1856027"/>
            <a:ext cx="70234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>
                <a:ea typeface="+mn-lt"/>
                <a:cs typeface="+mn-lt"/>
              </a:rPr>
              <a:t>Use </a:t>
            </a:r>
            <a:r>
              <a:rPr lang="it-IT" b="1" err="1">
                <a:ea typeface="+mn-lt"/>
                <a:cs typeface="+mn-lt"/>
              </a:rPr>
              <a:t>additional</a:t>
            </a:r>
            <a:r>
              <a:rPr lang="it-IT" b="1">
                <a:ea typeface="+mn-lt"/>
                <a:cs typeface="+mn-lt"/>
              </a:rPr>
              <a:t> </a:t>
            </a:r>
            <a:r>
              <a:rPr lang="it-IT" b="1" err="1">
                <a:ea typeface="+mn-lt"/>
                <a:cs typeface="+mn-lt"/>
              </a:rPr>
              <a:t>sensors</a:t>
            </a:r>
            <a:r>
              <a:rPr lang="it-IT" b="1">
                <a:ea typeface="+mn-lt"/>
                <a:cs typeface="+mn-lt"/>
              </a:rPr>
              <a:t> </a:t>
            </a:r>
            <a:r>
              <a:rPr lang="it-IT">
                <a:ea typeface="+mn-lt"/>
                <a:cs typeface="+mn-lt"/>
              </a:rPr>
              <a:t>to </a:t>
            </a:r>
            <a:r>
              <a:rPr lang="it-IT" err="1">
                <a:ea typeface="+mn-lt"/>
                <a:cs typeface="+mn-lt"/>
              </a:rPr>
              <a:t>distinguish</a:t>
            </a:r>
            <a:r>
              <a:rPr lang="it-IT">
                <a:ea typeface="+mn-lt"/>
                <a:cs typeface="+mn-lt"/>
              </a:rPr>
              <a:t> </a:t>
            </a:r>
            <a:r>
              <a:rPr lang="it-IT" err="1">
                <a:ea typeface="+mn-lt"/>
                <a:cs typeface="+mn-lt"/>
              </a:rPr>
              <a:t>between</a:t>
            </a:r>
            <a:r>
              <a:rPr lang="it-IT">
                <a:ea typeface="+mn-lt"/>
                <a:cs typeface="+mn-lt"/>
              </a:rPr>
              <a:t> </a:t>
            </a:r>
            <a:r>
              <a:rPr lang="it-IT" err="1">
                <a:ea typeface="+mn-lt"/>
                <a:cs typeface="+mn-lt"/>
              </a:rPr>
              <a:t>very</a:t>
            </a:r>
            <a:r>
              <a:rPr lang="it-IT">
                <a:ea typeface="+mn-lt"/>
                <a:cs typeface="+mn-lt"/>
              </a:rPr>
              <a:t> </a:t>
            </a:r>
            <a:r>
              <a:rPr lang="it-IT" b="1" err="1">
                <a:ea typeface="+mn-lt"/>
                <a:cs typeface="+mn-lt"/>
              </a:rPr>
              <a:t>similar</a:t>
            </a:r>
            <a:r>
              <a:rPr lang="it-IT" b="1">
                <a:ea typeface="+mn-lt"/>
                <a:cs typeface="+mn-lt"/>
              </a:rPr>
              <a:t> positions </a:t>
            </a:r>
            <a:endParaRPr lang="it-IT" b="1"/>
          </a:p>
        </p:txBody>
      </p:sp>
      <p:pic>
        <p:nvPicPr>
          <p:cNvPr id="27" name="Graphique 26" descr="Processeur contour">
            <a:extLst>
              <a:ext uri="{FF2B5EF4-FFF2-40B4-BE49-F238E27FC236}">
                <a16:creationId xmlns:a16="http://schemas.microsoft.com/office/drawing/2014/main" id="{472009A5-CE0C-8616-49F9-36F91BA63F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813309" y="1675880"/>
            <a:ext cx="724887" cy="723394"/>
          </a:xfrm>
          <a:prstGeom prst="rect">
            <a:avLst/>
          </a:prstGeom>
        </p:spPr>
      </p:pic>
      <p:sp>
        <p:nvSpPr>
          <p:cNvPr id="28" name="CasellaDiTesto 21">
            <a:extLst>
              <a:ext uri="{FF2B5EF4-FFF2-40B4-BE49-F238E27FC236}">
                <a16:creationId xmlns:a16="http://schemas.microsoft.com/office/drawing/2014/main" id="{B078864C-4C78-BB49-AA2E-A25B809D9271}"/>
              </a:ext>
            </a:extLst>
          </p:cNvPr>
          <p:cNvSpPr txBox="1"/>
          <p:nvPr/>
        </p:nvSpPr>
        <p:spPr>
          <a:xfrm>
            <a:off x="6009874" y="5069936"/>
            <a:ext cx="4836483" cy="3787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>
                <a:ea typeface="+mn-lt"/>
                <a:cs typeface="+mn-lt"/>
              </a:rPr>
              <a:t>Implement </a:t>
            </a:r>
            <a:r>
              <a:rPr lang="it-IT" b="1">
                <a:ea typeface="+mn-lt"/>
                <a:cs typeface="+mn-lt"/>
              </a:rPr>
              <a:t>real-time</a:t>
            </a:r>
            <a:r>
              <a:rPr lang="it-IT">
                <a:ea typeface="+mn-lt"/>
                <a:cs typeface="+mn-lt"/>
              </a:rPr>
              <a:t> sleeping position classifier</a:t>
            </a:r>
            <a:endParaRPr lang="it-IT" b="1"/>
          </a:p>
        </p:txBody>
      </p:sp>
      <p:pic>
        <p:nvPicPr>
          <p:cNvPr id="29" name="Graphique 28" descr="Écran contour">
            <a:extLst>
              <a:ext uri="{FF2B5EF4-FFF2-40B4-BE49-F238E27FC236}">
                <a16:creationId xmlns:a16="http://schemas.microsoft.com/office/drawing/2014/main" id="{6A0A8C5A-E130-2C59-3E49-3EB0EB78B67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850568" y="4982029"/>
            <a:ext cx="631320" cy="630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1053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4"/>
          <p:cNvSpPr>
            <a:spLocks noGrp="1"/>
          </p:cNvSpPr>
          <p:nvPr>
            <p:ph type="ctrTitle" idx="4294967295"/>
          </p:nvPr>
        </p:nvSpPr>
        <p:spPr>
          <a:xfrm>
            <a:off x="2209800" y="4749416"/>
            <a:ext cx="7772400" cy="1135356"/>
          </a:xfrm>
        </p:spPr>
        <p:txBody>
          <a:bodyPr>
            <a:noAutofit/>
          </a:bodyPr>
          <a:lstStyle/>
          <a:p>
            <a:pPr algn="ctr"/>
            <a:r>
              <a:rPr lang="it-IT" sz="2000"/>
              <a:t>Project 5:</a:t>
            </a:r>
            <a:br>
              <a:rPr lang="it-IT" sz="2000"/>
            </a:br>
            <a:r>
              <a:rPr lang="it-IT" sz="2000" err="1"/>
              <a:t>Sleep</a:t>
            </a:r>
            <a:r>
              <a:rPr lang="it-IT" sz="2000"/>
              <a:t> Position </a:t>
            </a:r>
            <a:r>
              <a:rPr lang="it-IT" sz="2000" err="1"/>
              <a:t>Classifier</a:t>
            </a:r>
            <a:endParaRPr lang="it-IT" sz="2000"/>
          </a:p>
        </p:txBody>
      </p:sp>
      <p:sp>
        <p:nvSpPr>
          <p:cNvPr id="11" name="Sottotitolo 10"/>
          <p:cNvSpPr>
            <a:spLocks noGrp="1"/>
          </p:cNvSpPr>
          <p:nvPr>
            <p:ph type="subTitle" idx="4294967295"/>
          </p:nvPr>
        </p:nvSpPr>
        <p:spPr>
          <a:xfrm>
            <a:off x="2127434" y="6333866"/>
            <a:ext cx="7772400" cy="393699"/>
          </a:xfrm>
        </p:spPr>
        <p:txBody>
          <a:bodyPr>
            <a:normAutofit/>
          </a:bodyPr>
          <a:lstStyle/>
          <a:p>
            <a:pPr algn="ctr"/>
            <a:r>
              <a:rPr lang="it-IT" sz="1400">
                <a:solidFill>
                  <a:schemeClr val="bg1"/>
                </a:solidFill>
              </a:rPr>
              <a:t>Milan, 14 July 2022</a:t>
            </a:r>
          </a:p>
          <a:p>
            <a:endParaRPr lang="it-IT" sz="180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F8A58723-CF68-4B39-9651-82A458DB5BD8}"/>
              </a:ext>
            </a:extLst>
          </p:cNvPr>
          <p:cNvSpPr txBox="1"/>
          <p:nvPr/>
        </p:nvSpPr>
        <p:spPr>
          <a:xfrm>
            <a:off x="65697" y="5676094"/>
            <a:ext cx="26773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simo Alfonzo</a:t>
            </a:r>
          </a:p>
          <a:p>
            <a:r>
              <a:rPr lang="it-IT"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loé </a:t>
            </a:r>
            <a:r>
              <a:rPr lang="it-IT" sz="20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avate</a:t>
            </a:r>
            <a:endParaRPr lang="it-IT" sz="20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rick </a:t>
            </a:r>
            <a:r>
              <a:rPr lang="it-IT" sz="20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nke</a:t>
            </a:r>
            <a:endParaRPr lang="it-IT" sz="20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E80F0972-A09C-4A26-BF72-12D2B527078A}"/>
              </a:ext>
            </a:extLst>
          </p:cNvPr>
          <p:cNvSpPr txBox="1"/>
          <p:nvPr/>
        </p:nvSpPr>
        <p:spPr>
          <a:xfrm>
            <a:off x="7543800" y="6033985"/>
            <a:ext cx="458250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tor: Giulia Alessandrelli</a:t>
            </a:r>
          </a:p>
          <a:p>
            <a:pPr algn="r"/>
            <a:r>
              <a:rPr lang="it-IT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or: Pietro </a:t>
            </a:r>
            <a:r>
              <a:rPr lang="it-IT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veri</a:t>
            </a:r>
            <a:endParaRPr lang="it-IT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endParaRPr lang="it-IT" sz="1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315626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Groupe 64">
            <a:extLst>
              <a:ext uri="{FF2B5EF4-FFF2-40B4-BE49-F238E27FC236}">
                <a16:creationId xmlns:a16="http://schemas.microsoft.com/office/drawing/2014/main" id="{1D89D65E-2C17-91A7-7880-01EE624AC172}"/>
              </a:ext>
            </a:extLst>
          </p:cNvPr>
          <p:cNvGrpSpPr/>
          <p:nvPr/>
        </p:nvGrpSpPr>
        <p:grpSpPr>
          <a:xfrm>
            <a:off x="8027511" y="1767371"/>
            <a:ext cx="3542099" cy="3851001"/>
            <a:chOff x="1278194" y="1907458"/>
            <a:chExt cx="3542099" cy="3851001"/>
          </a:xfrm>
        </p:grpSpPr>
        <p:sp>
          <p:nvSpPr>
            <p:cNvPr id="66" name="Rectangle : coins arrondis 65">
              <a:extLst>
                <a:ext uri="{FF2B5EF4-FFF2-40B4-BE49-F238E27FC236}">
                  <a16:creationId xmlns:a16="http://schemas.microsoft.com/office/drawing/2014/main" id="{2E9605EA-6664-D1F6-27BD-125E23460169}"/>
                </a:ext>
              </a:extLst>
            </p:cNvPr>
            <p:cNvSpPr/>
            <p:nvPr/>
          </p:nvSpPr>
          <p:spPr>
            <a:xfrm>
              <a:off x="1681315" y="1944198"/>
              <a:ext cx="3138978" cy="3814261"/>
            </a:xfrm>
            <a:prstGeom prst="roundRect">
              <a:avLst/>
            </a:prstGeom>
            <a:no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7" name="Flèche : pentagone 66">
              <a:extLst>
                <a:ext uri="{FF2B5EF4-FFF2-40B4-BE49-F238E27FC236}">
                  <a16:creationId xmlns:a16="http://schemas.microsoft.com/office/drawing/2014/main" id="{F5C9CC99-3552-D69A-5D16-61191CC7AD22}"/>
                </a:ext>
              </a:extLst>
            </p:cNvPr>
            <p:cNvSpPr/>
            <p:nvPr/>
          </p:nvSpPr>
          <p:spPr>
            <a:xfrm>
              <a:off x="1799303" y="1944200"/>
              <a:ext cx="2408903" cy="766916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8" name="Ellipse 67">
              <a:extLst>
                <a:ext uri="{FF2B5EF4-FFF2-40B4-BE49-F238E27FC236}">
                  <a16:creationId xmlns:a16="http://schemas.microsoft.com/office/drawing/2014/main" id="{D93D9DC6-E68D-D9B9-603A-166155204513}"/>
                </a:ext>
              </a:extLst>
            </p:cNvPr>
            <p:cNvSpPr/>
            <p:nvPr/>
          </p:nvSpPr>
          <p:spPr>
            <a:xfrm>
              <a:off x="1278194" y="1907458"/>
              <a:ext cx="865238" cy="8404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61" name="Groupe 60">
            <a:extLst>
              <a:ext uri="{FF2B5EF4-FFF2-40B4-BE49-F238E27FC236}">
                <a16:creationId xmlns:a16="http://schemas.microsoft.com/office/drawing/2014/main" id="{33D4D2B7-27E6-82FE-8E54-C0951D2F64AC}"/>
              </a:ext>
            </a:extLst>
          </p:cNvPr>
          <p:cNvGrpSpPr/>
          <p:nvPr/>
        </p:nvGrpSpPr>
        <p:grpSpPr>
          <a:xfrm>
            <a:off x="4219940" y="1767371"/>
            <a:ext cx="3688438" cy="3851002"/>
            <a:chOff x="1278194" y="1907458"/>
            <a:chExt cx="3542100" cy="3851002"/>
          </a:xfrm>
        </p:grpSpPr>
        <p:sp>
          <p:nvSpPr>
            <p:cNvPr id="62" name="Rectangle : coins arrondis 61">
              <a:extLst>
                <a:ext uri="{FF2B5EF4-FFF2-40B4-BE49-F238E27FC236}">
                  <a16:creationId xmlns:a16="http://schemas.microsoft.com/office/drawing/2014/main" id="{AF166A66-443D-27FE-7418-55AC3DD22818}"/>
                </a:ext>
              </a:extLst>
            </p:cNvPr>
            <p:cNvSpPr/>
            <p:nvPr/>
          </p:nvSpPr>
          <p:spPr>
            <a:xfrm>
              <a:off x="1681316" y="1944199"/>
              <a:ext cx="3138978" cy="3814261"/>
            </a:xfrm>
            <a:prstGeom prst="roundRect">
              <a:avLst/>
            </a:prstGeom>
            <a:no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3" name="Flèche : pentagone 62">
              <a:extLst>
                <a:ext uri="{FF2B5EF4-FFF2-40B4-BE49-F238E27FC236}">
                  <a16:creationId xmlns:a16="http://schemas.microsoft.com/office/drawing/2014/main" id="{799CA38A-6809-2BFF-3ED4-F1144B6B329E}"/>
                </a:ext>
              </a:extLst>
            </p:cNvPr>
            <p:cNvSpPr/>
            <p:nvPr/>
          </p:nvSpPr>
          <p:spPr>
            <a:xfrm>
              <a:off x="1799303" y="1944200"/>
              <a:ext cx="2408903" cy="766916"/>
            </a:xfrm>
            <a:prstGeom prst="homePlat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0B4C8E34-D22F-F5B5-0747-BC6B81BD6FA1}"/>
                </a:ext>
              </a:extLst>
            </p:cNvPr>
            <p:cNvSpPr/>
            <p:nvPr/>
          </p:nvSpPr>
          <p:spPr>
            <a:xfrm>
              <a:off x="1278194" y="1907458"/>
              <a:ext cx="865238" cy="8404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F4570584-9694-D566-195B-F3C469F5E59A}"/>
              </a:ext>
            </a:extLst>
          </p:cNvPr>
          <p:cNvGrpSpPr/>
          <p:nvPr/>
        </p:nvGrpSpPr>
        <p:grpSpPr>
          <a:xfrm>
            <a:off x="356392" y="1767370"/>
            <a:ext cx="3580139" cy="3851002"/>
            <a:chOff x="1278194" y="1907458"/>
            <a:chExt cx="3580139" cy="3851002"/>
          </a:xfrm>
        </p:grpSpPr>
        <p:sp>
          <p:nvSpPr>
            <p:cNvPr id="9" name="Rectangle : coins arrondis 8">
              <a:extLst>
                <a:ext uri="{FF2B5EF4-FFF2-40B4-BE49-F238E27FC236}">
                  <a16:creationId xmlns:a16="http://schemas.microsoft.com/office/drawing/2014/main" id="{E070C57D-F0EB-1C0D-B1B6-58ACBBE0F67C}"/>
                </a:ext>
              </a:extLst>
            </p:cNvPr>
            <p:cNvSpPr/>
            <p:nvPr/>
          </p:nvSpPr>
          <p:spPr>
            <a:xfrm>
              <a:off x="1681314" y="1944200"/>
              <a:ext cx="3177019" cy="3814260"/>
            </a:xfrm>
            <a:prstGeom prst="roundRect">
              <a:avLst/>
            </a:prstGeom>
            <a:no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Flèche : pentagone 7">
              <a:extLst>
                <a:ext uri="{FF2B5EF4-FFF2-40B4-BE49-F238E27FC236}">
                  <a16:creationId xmlns:a16="http://schemas.microsoft.com/office/drawing/2014/main" id="{F79EFAE0-92AA-0EF0-C3FD-67C4702EC91E}"/>
                </a:ext>
              </a:extLst>
            </p:cNvPr>
            <p:cNvSpPr/>
            <p:nvPr/>
          </p:nvSpPr>
          <p:spPr>
            <a:xfrm>
              <a:off x="1799303" y="1944200"/>
              <a:ext cx="2408903" cy="766916"/>
            </a:xfrm>
            <a:prstGeom prst="homePlat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" name="Ellipse 5">
              <a:extLst>
                <a:ext uri="{FF2B5EF4-FFF2-40B4-BE49-F238E27FC236}">
                  <a16:creationId xmlns:a16="http://schemas.microsoft.com/office/drawing/2014/main" id="{F047365F-0C08-966E-BFB8-46A49E868BB7}"/>
                </a:ext>
              </a:extLst>
            </p:cNvPr>
            <p:cNvSpPr/>
            <p:nvPr/>
          </p:nvSpPr>
          <p:spPr>
            <a:xfrm>
              <a:off x="1278194" y="1907458"/>
              <a:ext cx="865238" cy="8404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C6785AE7-8B00-486C-9A8C-F571C9317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/>
              <a:t>Project </a:t>
            </a:r>
            <a:r>
              <a:rPr lang="it-IT" sz="3200" err="1"/>
              <a:t>outline</a:t>
            </a:r>
            <a:r>
              <a:rPr lang="it-IT" sz="3200"/>
              <a:t> 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27D00386-4C96-B4BA-44F7-3443C667A42B}"/>
              </a:ext>
            </a:extLst>
          </p:cNvPr>
          <p:cNvSpPr txBox="1"/>
          <p:nvPr/>
        </p:nvSpPr>
        <p:spPr>
          <a:xfrm>
            <a:off x="154215" y="6292352"/>
            <a:ext cx="4722312" cy="369332"/>
          </a:xfrm>
          <a:prstGeom prst="rect">
            <a:avLst/>
          </a:prstGeom>
          <a:solidFill>
            <a:srgbClr val="728FA5"/>
          </a:solidFill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M. Alfonzo, C. </a:t>
            </a:r>
            <a:r>
              <a:rPr lang="it-IT" err="1">
                <a:solidFill>
                  <a:schemeClr val="bg1"/>
                </a:solidFill>
              </a:rPr>
              <a:t>Canavate</a:t>
            </a:r>
            <a:r>
              <a:rPr lang="it-IT">
                <a:solidFill>
                  <a:schemeClr val="bg1"/>
                </a:solidFill>
              </a:rPr>
              <a:t>, P. </a:t>
            </a:r>
            <a:r>
              <a:rPr lang="it-IT" err="1">
                <a:solidFill>
                  <a:schemeClr val="bg1"/>
                </a:solidFill>
              </a:rPr>
              <a:t>Franke</a:t>
            </a:r>
            <a:endParaRPr lang="it-IT">
              <a:solidFill>
                <a:schemeClr val="bg1"/>
              </a:solidFill>
            </a:endParaRPr>
          </a:p>
        </p:txBody>
      </p:sp>
      <p:pic>
        <p:nvPicPr>
          <p:cNvPr id="16" name="Graphique 15" descr="Nuage de points contour">
            <a:extLst>
              <a:ext uri="{FF2B5EF4-FFF2-40B4-BE49-F238E27FC236}">
                <a16:creationId xmlns:a16="http://schemas.microsoft.com/office/drawing/2014/main" id="{CC6F97B4-07A1-CAEF-1729-505D58C014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57591" y="1890145"/>
            <a:ext cx="594852" cy="594852"/>
          </a:xfrm>
          <a:prstGeom prst="rect">
            <a:avLst/>
          </a:prstGeom>
        </p:spPr>
      </p:pic>
      <p:pic>
        <p:nvPicPr>
          <p:cNvPr id="42" name="Graphique 41" descr="Ordinateur portable contour">
            <a:extLst>
              <a:ext uri="{FF2B5EF4-FFF2-40B4-BE49-F238E27FC236}">
                <a16:creationId xmlns:a16="http://schemas.microsoft.com/office/drawing/2014/main" id="{866FF850-47B7-8140-BBD9-FF7E5544729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74383" y="1890145"/>
            <a:ext cx="571493" cy="571493"/>
          </a:xfrm>
          <a:prstGeom prst="rect">
            <a:avLst/>
          </a:prstGeom>
        </p:spPr>
      </p:pic>
      <p:pic>
        <p:nvPicPr>
          <p:cNvPr id="44" name="Graphique 43" descr="Processeur contour">
            <a:extLst>
              <a:ext uri="{FF2B5EF4-FFF2-40B4-BE49-F238E27FC236}">
                <a16:creationId xmlns:a16="http://schemas.microsoft.com/office/drawing/2014/main" id="{E3A1D337-77CA-A3B9-D829-EA8FD0479A0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1920" y="1870479"/>
            <a:ext cx="634181" cy="634181"/>
          </a:xfrm>
          <a:prstGeom prst="rect">
            <a:avLst/>
          </a:prstGeom>
        </p:spPr>
      </p:pic>
      <p:sp>
        <p:nvSpPr>
          <p:cNvPr id="45" name="ZoneTexte 44">
            <a:extLst>
              <a:ext uri="{FF2B5EF4-FFF2-40B4-BE49-F238E27FC236}">
                <a16:creationId xmlns:a16="http://schemas.microsoft.com/office/drawing/2014/main" id="{6359625A-971C-425C-93E2-5F600600C1A4}"/>
              </a:ext>
            </a:extLst>
          </p:cNvPr>
          <p:cNvSpPr txBox="1"/>
          <p:nvPr/>
        </p:nvSpPr>
        <p:spPr>
          <a:xfrm>
            <a:off x="1142165" y="1894926"/>
            <a:ext cx="202510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>
                <a:solidFill>
                  <a:schemeClr val="bg1"/>
                </a:solidFill>
              </a:rPr>
              <a:t>Hardware </a:t>
            </a:r>
            <a:r>
              <a:rPr lang="en-GB" sz="1200">
                <a:solidFill>
                  <a:schemeClr val="bg1"/>
                </a:solidFill>
              </a:rPr>
              <a:t>&amp;</a:t>
            </a:r>
            <a:r>
              <a:rPr lang="en-GB" sz="1600">
                <a:solidFill>
                  <a:schemeClr val="bg1"/>
                </a:solidFill>
              </a:rPr>
              <a:t> Firmware</a:t>
            </a:r>
          </a:p>
          <a:p>
            <a:pPr algn="ctr"/>
            <a:r>
              <a:rPr lang="en-GB" sz="1600">
                <a:solidFill>
                  <a:schemeClr val="bg1"/>
                </a:solidFill>
              </a:rPr>
              <a:t>set up</a:t>
            </a:r>
          </a:p>
        </p:txBody>
      </p:sp>
      <p:sp>
        <p:nvSpPr>
          <p:cNvPr id="69" name="ZoneTexte 68">
            <a:extLst>
              <a:ext uri="{FF2B5EF4-FFF2-40B4-BE49-F238E27FC236}">
                <a16:creationId xmlns:a16="http://schemas.microsoft.com/office/drawing/2014/main" id="{DB0E5CBB-C27E-8A1F-7D61-B9656BBFAD19}"/>
              </a:ext>
            </a:extLst>
          </p:cNvPr>
          <p:cNvSpPr txBox="1"/>
          <p:nvPr/>
        </p:nvSpPr>
        <p:spPr>
          <a:xfrm>
            <a:off x="5154484" y="1890145"/>
            <a:ext cx="164166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>
                <a:solidFill>
                  <a:schemeClr val="bg1"/>
                </a:solidFill>
              </a:rPr>
              <a:t>Data visualization</a:t>
            </a:r>
          </a:p>
          <a:p>
            <a:pPr algn="ctr"/>
            <a:r>
              <a:rPr lang="en-GB" sz="1600">
                <a:solidFill>
                  <a:schemeClr val="bg1"/>
                </a:solidFill>
              </a:rPr>
              <a:t>and acquisition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F6D8CE43-DB6B-6D80-0279-69FD56C80B93}"/>
              </a:ext>
            </a:extLst>
          </p:cNvPr>
          <p:cNvSpPr txBox="1"/>
          <p:nvPr/>
        </p:nvSpPr>
        <p:spPr>
          <a:xfrm>
            <a:off x="8983271" y="1987760"/>
            <a:ext cx="16706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>
                <a:solidFill>
                  <a:schemeClr val="accent1">
                    <a:lumMod val="75000"/>
                  </a:schemeClr>
                </a:solidFill>
              </a:rPr>
              <a:t>Machine Learning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9EE79662-1EEE-A057-ECF0-2D83E145DA24}"/>
              </a:ext>
            </a:extLst>
          </p:cNvPr>
          <p:cNvSpPr txBox="1"/>
          <p:nvPr/>
        </p:nvSpPr>
        <p:spPr>
          <a:xfrm>
            <a:off x="798437" y="2668980"/>
            <a:ext cx="3138978" cy="263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600"/>
              <a:t>Breadboard V1</a:t>
            </a:r>
          </a:p>
          <a:p>
            <a:pPr marL="285750" indent="-285750">
              <a:lnSpc>
                <a:spcPct val="150000"/>
              </a:lnSpc>
              <a:buSzPct val="100000"/>
              <a:buFont typeface="Arial" panose="020B0604020202020204" pitchFamily="34" charset="0"/>
              <a:buChar char="•"/>
            </a:pPr>
            <a:r>
              <a:rPr lang="en-GB" sz="1600"/>
              <a:t>3-axis accelerations </a:t>
            </a:r>
            <a:r>
              <a:rPr lang="en-GB" sz="1600" b="1"/>
              <a:t>acquisi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600" b="1"/>
              <a:t>PCB</a:t>
            </a:r>
            <a:r>
              <a:rPr lang="en-GB" sz="1600"/>
              <a:t> desig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600" b="1"/>
              <a:t>Casing</a:t>
            </a:r>
            <a:r>
              <a:rPr lang="en-GB" sz="1600"/>
              <a:t> desig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600"/>
              <a:t>Acquisition improved using </a:t>
            </a:r>
            <a:r>
              <a:rPr lang="en-GB" sz="1600" b="1"/>
              <a:t>FIF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600"/>
              <a:t>Data transmission via </a:t>
            </a:r>
            <a:r>
              <a:rPr lang="en-GB" sz="1600" b="1"/>
              <a:t>Bluetooth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600"/>
              <a:t>3D printing </a:t>
            </a:r>
            <a:r>
              <a:rPr lang="en-GB" sz="1400"/>
              <a:t>&amp;</a:t>
            </a:r>
            <a:r>
              <a:rPr lang="en-GB" sz="1600"/>
              <a:t> wires preparation</a:t>
            </a:r>
          </a:p>
        </p:txBody>
      </p:sp>
      <p:pic>
        <p:nvPicPr>
          <p:cNvPr id="1028" name="Picture 4" descr="Solidworks Icon #259824 - Free Icons Library">
            <a:extLst>
              <a:ext uri="{FF2B5EF4-FFF2-40B4-BE49-F238E27FC236}">
                <a16:creationId xmlns:a16="http://schemas.microsoft.com/office/drawing/2014/main" id="{D4E7174F-CAC0-EFDF-99A7-67129E0032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895"/>
          <a:stretch/>
        </p:blipFill>
        <p:spPr bwMode="auto">
          <a:xfrm>
            <a:off x="2479126" y="3866022"/>
            <a:ext cx="324829" cy="31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CBAB6A8A-CD2D-7875-0C05-6143E17F3369}"/>
              </a:ext>
            </a:extLst>
          </p:cNvPr>
          <p:cNvSpPr txBox="1"/>
          <p:nvPr/>
        </p:nvSpPr>
        <p:spPr>
          <a:xfrm>
            <a:off x="4652558" y="2836020"/>
            <a:ext cx="3255819" cy="2146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/>
              <a:t>GUI</a:t>
            </a:r>
            <a:r>
              <a:rPr lang="en-GB" sz="1600"/>
              <a:t> development</a:t>
            </a:r>
          </a:p>
          <a:p>
            <a:r>
              <a:rPr lang="en-GB" sz="1600"/>
              <a:t>      for data acquisition  </a:t>
            </a:r>
          </a:p>
          <a:p>
            <a:r>
              <a:rPr lang="en-GB" sz="1600"/>
              <a:t>      (12 positions)</a:t>
            </a:r>
          </a:p>
          <a:p>
            <a:endParaRPr lang="en-GB" sz="8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Added </a:t>
            </a:r>
            <a:r>
              <a:rPr lang="en-GB" sz="1600" b="1"/>
              <a:t>live visualization </a:t>
            </a:r>
            <a:r>
              <a:rPr lang="en-GB" sz="1600"/>
              <a:t>of 6 acceleration channel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600" b="1"/>
              <a:t>Data acquisition </a:t>
            </a:r>
            <a:r>
              <a:rPr lang="en-GB" sz="1600"/>
              <a:t>from 11 subjec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600" b="1"/>
              <a:t>Visualization and pre-processing</a:t>
            </a:r>
          </a:p>
        </p:txBody>
      </p:sp>
      <p:pic>
        <p:nvPicPr>
          <p:cNvPr id="1030" name="Picture 6" descr="PyQt - Wikipedia">
            <a:extLst>
              <a:ext uri="{FF2B5EF4-FFF2-40B4-BE49-F238E27FC236}">
                <a16:creationId xmlns:a16="http://schemas.microsoft.com/office/drawing/2014/main" id="{62B1E99A-DD80-DD17-DBFF-DC46C5D7DF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4615" y="2254095"/>
            <a:ext cx="337518" cy="351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ZoneTexte 26">
            <a:extLst>
              <a:ext uri="{FF2B5EF4-FFF2-40B4-BE49-F238E27FC236}">
                <a16:creationId xmlns:a16="http://schemas.microsoft.com/office/drawing/2014/main" id="{10D814E3-6970-2D44-D320-E8F52CFE7C25}"/>
              </a:ext>
            </a:extLst>
          </p:cNvPr>
          <p:cNvSpPr txBox="1"/>
          <p:nvPr/>
        </p:nvSpPr>
        <p:spPr>
          <a:xfrm>
            <a:off x="8456595" y="2679491"/>
            <a:ext cx="3138978" cy="2685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600" b="1"/>
              <a:t>Supervised</a:t>
            </a:r>
            <a:r>
              <a:rPr lang="en-GB" sz="1600"/>
              <a:t> classifier techniqu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600" b="1"/>
              <a:t>Unsupervised</a:t>
            </a:r>
            <a:r>
              <a:rPr lang="en-GB" sz="1600"/>
              <a:t> methods</a:t>
            </a:r>
          </a:p>
          <a:p>
            <a:pPr>
              <a:lnSpc>
                <a:spcPct val="150000"/>
              </a:lnSpc>
            </a:pPr>
            <a:endParaRPr lang="en-GB" sz="7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Optimization of the parameters using </a:t>
            </a:r>
            <a:r>
              <a:rPr lang="en-GB" sz="1600" b="1"/>
              <a:t>C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7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/>
              <a:t>Prediction</a:t>
            </a:r>
            <a:r>
              <a:rPr lang="en-GB" sz="1600"/>
              <a:t> of the 4 master posi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7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/>
              <a:t>Models comparison</a:t>
            </a:r>
            <a:r>
              <a:rPr lang="en-GB" sz="1600"/>
              <a:t> </a:t>
            </a:r>
            <a:r>
              <a:rPr lang="en-GB" sz="1400"/>
              <a:t>&amp;</a:t>
            </a:r>
            <a:r>
              <a:rPr lang="en-GB" sz="1600"/>
              <a:t> best model </a:t>
            </a:r>
            <a:r>
              <a:rPr lang="en-GB" sz="1600" b="1"/>
              <a:t>selection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64F660E1-946A-C3D2-81FA-61D2EE4544EA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3972" b="520"/>
          <a:stretch/>
        </p:blipFill>
        <p:spPr>
          <a:xfrm>
            <a:off x="3167271" y="2326314"/>
            <a:ext cx="638493" cy="27963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05689E-D81B-C90E-5AC2-703ECDD978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45" b="16395"/>
          <a:stretch/>
        </p:blipFill>
        <p:spPr bwMode="auto">
          <a:xfrm>
            <a:off x="10828972" y="2343892"/>
            <a:ext cx="603516" cy="262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45FEA1F0-E990-A671-CD6E-27C9856B16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7467" y="3531258"/>
            <a:ext cx="688145" cy="250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46958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6785AE7-8B00-486C-9A8C-F571C9317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/>
              <a:t>Hardware</a:t>
            </a:r>
          </a:p>
        </p:txBody>
      </p:sp>
      <p:sp>
        <p:nvSpPr>
          <p:cNvPr id="78" name="CasellaDiTesto 77">
            <a:extLst>
              <a:ext uri="{FF2B5EF4-FFF2-40B4-BE49-F238E27FC236}">
                <a16:creationId xmlns:a16="http://schemas.microsoft.com/office/drawing/2014/main" id="{DAA8AF87-948A-4B7D-8326-CEACC6C495DF}"/>
              </a:ext>
            </a:extLst>
          </p:cNvPr>
          <p:cNvSpPr txBox="1"/>
          <p:nvPr/>
        </p:nvSpPr>
        <p:spPr>
          <a:xfrm>
            <a:off x="5346808" y="1338359"/>
            <a:ext cx="18960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/>
              <a:t>Components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57741D99-2FD0-51BC-2A1C-660A68FEF4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3041" y="2135591"/>
            <a:ext cx="1682836" cy="1581231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1D3D2B5C-B043-A24C-D9BC-85C93982043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865"/>
          <a:stretch/>
        </p:blipFill>
        <p:spPr>
          <a:xfrm>
            <a:off x="1004858" y="2279429"/>
            <a:ext cx="1600971" cy="1581231"/>
          </a:xfrm>
          <a:prstGeom prst="rect">
            <a:avLst/>
          </a:prstGeom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2A494FAE-5EFA-D3A9-A9D9-FD59F1525BE7}"/>
              </a:ext>
            </a:extLst>
          </p:cNvPr>
          <p:cNvSpPr txBox="1"/>
          <p:nvPr/>
        </p:nvSpPr>
        <p:spPr>
          <a:xfrm>
            <a:off x="154215" y="6292352"/>
            <a:ext cx="4722312" cy="369332"/>
          </a:xfrm>
          <a:prstGeom prst="rect">
            <a:avLst/>
          </a:prstGeom>
          <a:solidFill>
            <a:srgbClr val="728FA5"/>
          </a:solidFill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M. Alfonzo, C. </a:t>
            </a:r>
            <a:r>
              <a:rPr lang="it-IT" err="1">
                <a:solidFill>
                  <a:schemeClr val="bg1"/>
                </a:solidFill>
              </a:rPr>
              <a:t>Canavate</a:t>
            </a:r>
            <a:r>
              <a:rPr lang="it-IT">
                <a:solidFill>
                  <a:schemeClr val="bg1"/>
                </a:solidFill>
              </a:rPr>
              <a:t>, P. </a:t>
            </a:r>
            <a:r>
              <a:rPr lang="it-IT" err="1">
                <a:solidFill>
                  <a:schemeClr val="bg1"/>
                </a:solidFill>
              </a:rPr>
              <a:t>Franke</a:t>
            </a:r>
            <a:endParaRPr lang="it-IT">
              <a:solidFill>
                <a:schemeClr val="bg1"/>
              </a:solidFill>
            </a:endParaRP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5209B62D-1126-F647-586D-1872F15AD1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91843" y="4739136"/>
            <a:ext cx="5524500" cy="1323975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C8A888BC-DE60-B07D-64FF-89A8D36D8A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76642" y="2450801"/>
            <a:ext cx="1619250" cy="1733550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B08F49E0-B76D-D659-0E92-41CD9603C2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40821" y="2482924"/>
            <a:ext cx="1376219" cy="1666586"/>
          </a:xfrm>
          <a:prstGeom prst="rect">
            <a:avLst/>
          </a:prstGeom>
        </p:spPr>
      </p:pic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A0415958-2F58-2656-516E-205132EBA3C0}"/>
              </a:ext>
            </a:extLst>
          </p:cNvPr>
          <p:cNvSpPr txBox="1"/>
          <p:nvPr/>
        </p:nvSpPr>
        <p:spPr>
          <a:xfrm>
            <a:off x="827791" y="1714059"/>
            <a:ext cx="18960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err="1"/>
              <a:t>Accelerometers</a:t>
            </a:r>
            <a:endParaRPr lang="it-IT"/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6D445BB5-DB5D-9D69-AE05-EA6BFAB67614}"/>
              </a:ext>
            </a:extLst>
          </p:cNvPr>
          <p:cNvSpPr txBox="1"/>
          <p:nvPr/>
        </p:nvSpPr>
        <p:spPr>
          <a:xfrm>
            <a:off x="3785623" y="2069768"/>
            <a:ext cx="2096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/>
              <a:t>Bluetooth module</a:t>
            </a:r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AC082C69-41D1-E487-0743-04825B1EF635}"/>
              </a:ext>
            </a:extLst>
          </p:cNvPr>
          <p:cNvSpPr txBox="1"/>
          <p:nvPr/>
        </p:nvSpPr>
        <p:spPr>
          <a:xfrm>
            <a:off x="6554070" y="2068409"/>
            <a:ext cx="25497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/>
              <a:t>9 to 5 </a:t>
            </a:r>
            <a:r>
              <a:rPr lang="it-IT" err="1"/>
              <a:t>voltage</a:t>
            </a:r>
            <a:r>
              <a:rPr lang="it-IT"/>
              <a:t> </a:t>
            </a:r>
            <a:r>
              <a:rPr lang="it-IT" err="1"/>
              <a:t>regulator</a:t>
            </a:r>
            <a:endParaRPr lang="it-IT"/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04F16805-F552-D078-5ECC-88A64429556A}"/>
              </a:ext>
            </a:extLst>
          </p:cNvPr>
          <p:cNvSpPr txBox="1"/>
          <p:nvPr/>
        </p:nvSpPr>
        <p:spPr>
          <a:xfrm>
            <a:off x="5179637" y="4333060"/>
            <a:ext cx="22303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err="1"/>
              <a:t>PSoC</a:t>
            </a:r>
            <a:r>
              <a:rPr lang="it-IT"/>
              <a:t> </a:t>
            </a:r>
            <a:r>
              <a:rPr lang="it-IT" err="1"/>
              <a:t>microcontroller</a:t>
            </a:r>
            <a:endParaRPr lang="it-IT"/>
          </a:p>
        </p:txBody>
      </p:sp>
      <p:pic>
        <p:nvPicPr>
          <p:cNvPr id="20" name="Immagine 19">
            <a:extLst>
              <a:ext uri="{FF2B5EF4-FFF2-40B4-BE49-F238E27FC236}">
                <a16:creationId xmlns:a16="http://schemas.microsoft.com/office/drawing/2014/main" id="{9BDD628D-3440-21E8-C9CF-F11FEABFD7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96704" y="2136873"/>
            <a:ext cx="840438" cy="1426473"/>
          </a:xfrm>
          <a:prstGeom prst="rect">
            <a:avLst/>
          </a:prstGeom>
        </p:spPr>
      </p:pic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4BC6238C-2C30-AAD8-A34F-D75577A97C9E}"/>
              </a:ext>
            </a:extLst>
          </p:cNvPr>
          <p:cNvSpPr txBox="1"/>
          <p:nvPr/>
        </p:nvSpPr>
        <p:spPr>
          <a:xfrm>
            <a:off x="10074519" y="1718737"/>
            <a:ext cx="18960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/>
              <a:t>9V </a:t>
            </a:r>
            <a:r>
              <a:rPr lang="it-IT" err="1"/>
              <a:t>battery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862697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6785AE7-8B00-486C-9A8C-F571C9317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/>
              <a:t>Hardware – Breadboard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2A494FAE-5EFA-D3A9-A9D9-FD59F1525BE7}"/>
              </a:ext>
            </a:extLst>
          </p:cNvPr>
          <p:cNvSpPr txBox="1"/>
          <p:nvPr/>
        </p:nvSpPr>
        <p:spPr>
          <a:xfrm>
            <a:off x="154215" y="6292352"/>
            <a:ext cx="4722312" cy="369332"/>
          </a:xfrm>
          <a:prstGeom prst="rect">
            <a:avLst/>
          </a:prstGeom>
          <a:solidFill>
            <a:srgbClr val="728FA5"/>
          </a:solidFill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M. Alfonzo, C. </a:t>
            </a:r>
            <a:r>
              <a:rPr lang="it-IT" err="1">
                <a:solidFill>
                  <a:schemeClr val="bg1"/>
                </a:solidFill>
              </a:rPr>
              <a:t>Canavate</a:t>
            </a:r>
            <a:r>
              <a:rPr lang="it-IT">
                <a:solidFill>
                  <a:schemeClr val="bg1"/>
                </a:solidFill>
              </a:rPr>
              <a:t>, P. </a:t>
            </a:r>
            <a:r>
              <a:rPr lang="it-IT" err="1">
                <a:solidFill>
                  <a:schemeClr val="bg1"/>
                </a:solidFill>
              </a:rPr>
              <a:t>Franke</a:t>
            </a:r>
            <a:endParaRPr lang="it-IT">
              <a:solidFill>
                <a:schemeClr val="bg1"/>
              </a:solidFill>
            </a:endParaRPr>
          </a:p>
        </p:txBody>
      </p:sp>
      <p:pic>
        <p:nvPicPr>
          <p:cNvPr id="18" name="Image 17" descr="Une image contenant texte&#10;&#10;Description générée automatiquement">
            <a:extLst>
              <a:ext uri="{FF2B5EF4-FFF2-40B4-BE49-F238E27FC236}">
                <a16:creationId xmlns:a16="http://schemas.microsoft.com/office/drawing/2014/main" id="{8094C1AE-2B4C-C9CF-20DE-3D14583B5A8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33" b="22557"/>
          <a:stretch/>
        </p:blipFill>
        <p:spPr>
          <a:xfrm rot="10800000">
            <a:off x="2444993" y="2232515"/>
            <a:ext cx="7302013" cy="2810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511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6785AE7-8B00-486C-9A8C-F571C9317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/>
              <a:t>Hardware – Breadboard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2A494FAE-5EFA-D3A9-A9D9-FD59F1525BE7}"/>
              </a:ext>
            </a:extLst>
          </p:cNvPr>
          <p:cNvSpPr txBox="1"/>
          <p:nvPr/>
        </p:nvSpPr>
        <p:spPr>
          <a:xfrm>
            <a:off x="154215" y="6292352"/>
            <a:ext cx="4722312" cy="369332"/>
          </a:xfrm>
          <a:prstGeom prst="rect">
            <a:avLst/>
          </a:prstGeom>
          <a:solidFill>
            <a:srgbClr val="728FA5"/>
          </a:solidFill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M. Alfonzo, C. </a:t>
            </a:r>
            <a:r>
              <a:rPr lang="it-IT" err="1">
                <a:solidFill>
                  <a:schemeClr val="bg1"/>
                </a:solidFill>
              </a:rPr>
              <a:t>Canavate</a:t>
            </a:r>
            <a:r>
              <a:rPr lang="it-IT">
                <a:solidFill>
                  <a:schemeClr val="bg1"/>
                </a:solidFill>
              </a:rPr>
              <a:t>, P. </a:t>
            </a:r>
            <a:r>
              <a:rPr lang="it-IT" err="1">
                <a:solidFill>
                  <a:schemeClr val="bg1"/>
                </a:solidFill>
              </a:rPr>
              <a:t>Franke</a:t>
            </a:r>
            <a:endParaRPr lang="it-IT">
              <a:solidFill>
                <a:schemeClr val="bg1"/>
              </a:solidFill>
            </a:endParaRPr>
          </a:p>
        </p:txBody>
      </p:sp>
      <p:pic>
        <p:nvPicPr>
          <p:cNvPr id="18" name="Image 17" descr="Une image contenant texte&#10;&#10;Description générée automatiquement">
            <a:extLst>
              <a:ext uri="{FF2B5EF4-FFF2-40B4-BE49-F238E27FC236}">
                <a16:creationId xmlns:a16="http://schemas.microsoft.com/office/drawing/2014/main" id="{8094C1AE-2B4C-C9CF-20DE-3D14583B5A8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33" b="22557"/>
          <a:stretch/>
        </p:blipFill>
        <p:spPr>
          <a:xfrm rot="10800000">
            <a:off x="2444993" y="2232515"/>
            <a:ext cx="7302013" cy="2810015"/>
          </a:xfrm>
          <a:prstGeom prst="rect">
            <a:avLst/>
          </a:prstGeom>
        </p:spPr>
      </p:pic>
      <p:sp>
        <p:nvSpPr>
          <p:cNvPr id="35" name="ZoneTexte 34">
            <a:extLst>
              <a:ext uri="{FF2B5EF4-FFF2-40B4-BE49-F238E27FC236}">
                <a16:creationId xmlns:a16="http://schemas.microsoft.com/office/drawing/2014/main" id="{0D880D67-556A-A6F4-7EEF-6DAADD31F345}"/>
              </a:ext>
            </a:extLst>
          </p:cNvPr>
          <p:cNvSpPr txBox="1"/>
          <p:nvPr/>
        </p:nvSpPr>
        <p:spPr>
          <a:xfrm>
            <a:off x="287587" y="1743186"/>
            <a:ext cx="43148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accent1"/>
                </a:solidFill>
              </a:rPr>
              <a:t>External wires connecting 2 accelerometers</a:t>
            </a:r>
          </a:p>
        </p:txBody>
      </p:sp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6D42A74E-A429-86E9-177F-6DAB95BAF7C5}"/>
              </a:ext>
            </a:extLst>
          </p:cNvPr>
          <p:cNvSpPr/>
          <p:nvPr/>
        </p:nvSpPr>
        <p:spPr>
          <a:xfrm>
            <a:off x="2330245" y="2133591"/>
            <a:ext cx="4100052" cy="2949678"/>
          </a:xfrm>
          <a:custGeom>
            <a:avLst/>
            <a:gdLst>
              <a:gd name="connsiteX0" fmla="*/ 904568 w 4100052"/>
              <a:gd name="connsiteY0" fmla="*/ 98323 h 2949678"/>
              <a:gd name="connsiteX1" fmla="*/ 127820 w 4100052"/>
              <a:gd name="connsiteY1" fmla="*/ 88491 h 2949678"/>
              <a:gd name="connsiteX2" fmla="*/ 0 w 4100052"/>
              <a:gd name="connsiteY2" fmla="*/ 88491 h 2949678"/>
              <a:gd name="connsiteX3" fmla="*/ 98323 w 4100052"/>
              <a:gd name="connsiteY3" fmla="*/ 2880852 h 2949678"/>
              <a:gd name="connsiteX4" fmla="*/ 9832 w 4100052"/>
              <a:gd name="connsiteY4" fmla="*/ 2949678 h 2949678"/>
              <a:gd name="connsiteX5" fmla="*/ 4100052 w 4100052"/>
              <a:gd name="connsiteY5" fmla="*/ 2930013 h 2949678"/>
              <a:gd name="connsiteX6" fmla="*/ 4090220 w 4100052"/>
              <a:gd name="connsiteY6" fmla="*/ 1917291 h 2949678"/>
              <a:gd name="connsiteX7" fmla="*/ 4060723 w 4100052"/>
              <a:gd name="connsiteY7" fmla="*/ 0 h 2949678"/>
              <a:gd name="connsiteX8" fmla="*/ 3490452 w 4100052"/>
              <a:gd name="connsiteY8" fmla="*/ 78659 h 2949678"/>
              <a:gd name="connsiteX9" fmla="*/ 3451123 w 4100052"/>
              <a:gd name="connsiteY9" fmla="*/ 1219200 h 2949678"/>
              <a:gd name="connsiteX10" fmla="*/ 963561 w 4100052"/>
              <a:gd name="connsiteY10" fmla="*/ 1229033 h 2949678"/>
              <a:gd name="connsiteX11" fmla="*/ 904568 w 4100052"/>
              <a:gd name="connsiteY11" fmla="*/ 98323 h 2949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100052" h="2949678">
                <a:moveTo>
                  <a:pt x="904568" y="98323"/>
                </a:moveTo>
                <a:lnTo>
                  <a:pt x="127820" y="88491"/>
                </a:lnTo>
                <a:lnTo>
                  <a:pt x="0" y="88491"/>
                </a:lnTo>
                <a:lnTo>
                  <a:pt x="98323" y="2880852"/>
                </a:lnTo>
                <a:lnTo>
                  <a:pt x="9832" y="2949678"/>
                </a:lnTo>
                <a:lnTo>
                  <a:pt x="4100052" y="2930013"/>
                </a:lnTo>
                <a:cubicBezTo>
                  <a:pt x="4096775" y="2592439"/>
                  <a:pt x="4093497" y="2254865"/>
                  <a:pt x="4090220" y="1917291"/>
                </a:cubicBezTo>
                <a:lnTo>
                  <a:pt x="4060723" y="0"/>
                </a:lnTo>
                <a:lnTo>
                  <a:pt x="3490452" y="78659"/>
                </a:lnTo>
                <a:lnTo>
                  <a:pt x="3451123" y="1219200"/>
                </a:lnTo>
                <a:lnTo>
                  <a:pt x="963561" y="1229033"/>
                </a:lnTo>
                <a:lnTo>
                  <a:pt x="904568" y="98323"/>
                </a:lnTo>
                <a:close/>
              </a:path>
            </a:pathLst>
          </a:custGeom>
          <a:solidFill>
            <a:srgbClr val="FFFFFF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E4DDB41-396A-3B8C-BF8F-F9A80A81B7EE}"/>
              </a:ext>
            </a:extLst>
          </p:cNvPr>
          <p:cNvSpPr/>
          <p:nvPr/>
        </p:nvSpPr>
        <p:spPr>
          <a:xfrm>
            <a:off x="3274142" y="2191775"/>
            <a:ext cx="2507226" cy="1180680"/>
          </a:xfrm>
          <a:prstGeom prst="rect">
            <a:avLst/>
          </a:prstGeom>
          <a:noFill/>
          <a:ln w="7620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ABBAC01F-C4EC-ABF3-47F3-BBAE42F34022}"/>
              </a:ext>
            </a:extLst>
          </p:cNvPr>
          <p:cNvSpPr txBox="1"/>
          <p:nvPr/>
        </p:nvSpPr>
        <p:spPr>
          <a:xfrm>
            <a:off x="4364434" y="4134458"/>
            <a:ext cx="19184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>
                <a:solidFill>
                  <a:schemeClr val="accent5"/>
                </a:solidFill>
              </a:rPr>
              <a:t>Bluetooth module</a:t>
            </a:r>
          </a:p>
        </p:txBody>
      </p:sp>
      <p:sp>
        <p:nvSpPr>
          <p:cNvPr id="6" name="Forme libre : forme 5">
            <a:extLst>
              <a:ext uri="{FF2B5EF4-FFF2-40B4-BE49-F238E27FC236}">
                <a16:creationId xmlns:a16="http://schemas.microsoft.com/office/drawing/2014/main" id="{D6E51821-8791-B080-B51B-3E41B385A153}"/>
              </a:ext>
            </a:extLst>
          </p:cNvPr>
          <p:cNvSpPr/>
          <p:nvPr/>
        </p:nvSpPr>
        <p:spPr>
          <a:xfrm>
            <a:off x="6371303" y="2212250"/>
            <a:ext cx="1406017" cy="2871019"/>
          </a:xfrm>
          <a:custGeom>
            <a:avLst/>
            <a:gdLst>
              <a:gd name="connsiteX0" fmla="*/ 29497 w 1366684"/>
              <a:gd name="connsiteY0" fmla="*/ 580103 h 2871019"/>
              <a:gd name="connsiteX1" fmla="*/ 511277 w 1366684"/>
              <a:gd name="connsiteY1" fmla="*/ 580103 h 2871019"/>
              <a:gd name="connsiteX2" fmla="*/ 540774 w 1366684"/>
              <a:gd name="connsiteY2" fmla="*/ 1828800 h 2871019"/>
              <a:gd name="connsiteX3" fmla="*/ 39329 w 1366684"/>
              <a:gd name="connsiteY3" fmla="*/ 1868129 h 2871019"/>
              <a:gd name="connsiteX4" fmla="*/ 19664 w 1366684"/>
              <a:gd name="connsiteY4" fmla="*/ 2851354 h 2871019"/>
              <a:gd name="connsiteX5" fmla="*/ 1366684 w 1366684"/>
              <a:gd name="connsiteY5" fmla="*/ 2871019 h 2871019"/>
              <a:gd name="connsiteX6" fmla="*/ 1258529 w 1366684"/>
              <a:gd name="connsiteY6" fmla="*/ 9832 h 2871019"/>
              <a:gd name="connsiteX7" fmla="*/ 0 w 1366684"/>
              <a:gd name="connsiteY7" fmla="*/ 0 h 2871019"/>
              <a:gd name="connsiteX8" fmla="*/ 29497 w 1366684"/>
              <a:gd name="connsiteY8" fmla="*/ 580103 h 2871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6684" h="2871019">
                <a:moveTo>
                  <a:pt x="29497" y="580103"/>
                </a:moveTo>
                <a:lnTo>
                  <a:pt x="511277" y="580103"/>
                </a:lnTo>
                <a:lnTo>
                  <a:pt x="540774" y="1828800"/>
                </a:lnTo>
                <a:lnTo>
                  <a:pt x="39329" y="1868129"/>
                </a:lnTo>
                <a:lnTo>
                  <a:pt x="19664" y="2851354"/>
                </a:lnTo>
                <a:lnTo>
                  <a:pt x="1366684" y="2871019"/>
                </a:lnTo>
                <a:lnTo>
                  <a:pt x="1258529" y="9832"/>
                </a:lnTo>
                <a:lnTo>
                  <a:pt x="0" y="0"/>
                </a:lnTo>
                <a:lnTo>
                  <a:pt x="29497" y="580103"/>
                </a:lnTo>
                <a:close/>
              </a:path>
            </a:pathLst>
          </a:custGeom>
          <a:solidFill>
            <a:srgbClr val="FFFFFF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74BF1B-5EF5-C106-0E99-B7B63F224E90}"/>
              </a:ext>
            </a:extLst>
          </p:cNvPr>
          <p:cNvSpPr/>
          <p:nvPr/>
        </p:nvSpPr>
        <p:spPr>
          <a:xfrm>
            <a:off x="6381135" y="2782114"/>
            <a:ext cx="550607" cy="1288432"/>
          </a:xfrm>
          <a:prstGeom prst="rect">
            <a:avLst/>
          </a:prstGeom>
          <a:noFill/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7" name="Forme libre : forme 6">
            <a:extLst>
              <a:ext uri="{FF2B5EF4-FFF2-40B4-BE49-F238E27FC236}">
                <a16:creationId xmlns:a16="http://schemas.microsoft.com/office/drawing/2014/main" id="{B0AF3198-DD91-B573-27BE-973C262FE652}"/>
              </a:ext>
            </a:extLst>
          </p:cNvPr>
          <p:cNvSpPr/>
          <p:nvPr/>
        </p:nvSpPr>
        <p:spPr>
          <a:xfrm>
            <a:off x="7649497" y="2113927"/>
            <a:ext cx="2192594" cy="2959510"/>
          </a:xfrm>
          <a:custGeom>
            <a:avLst/>
            <a:gdLst>
              <a:gd name="connsiteX0" fmla="*/ 0 w 2192594"/>
              <a:gd name="connsiteY0" fmla="*/ 117987 h 2959510"/>
              <a:gd name="connsiteX1" fmla="*/ 58994 w 2192594"/>
              <a:gd name="connsiteY1" fmla="*/ 1455174 h 2959510"/>
              <a:gd name="connsiteX2" fmla="*/ 560439 w 2192594"/>
              <a:gd name="connsiteY2" fmla="*/ 1465006 h 2959510"/>
              <a:gd name="connsiteX3" fmla="*/ 580103 w 2192594"/>
              <a:gd name="connsiteY3" fmla="*/ 1868129 h 2959510"/>
              <a:gd name="connsiteX4" fmla="*/ 78658 w 2192594"/>
              <a:gd name="connsiteY4" fmla="*/ 1868129 h 2959510"/>
              <a:gd name="connsiteX5" fmla="*/ 117987 w 2192594"/>
              <a:gd name="connsiteY5" fmla="*/ 2949677 h 2959510"/>
              <a:gd name="connsiteX6" fmla="*/ 717755 w 2192594"/>
              <a:gd name="connsiteY6" fmla="*/ 2930013 h 2959510"/>
              <a:gd name="connsiteX7" fmla="*/ 707923 w 2192594"/>
              <a:gd name="connsiteY7" fmla="*/ 560439 h 2959510"/>
              <a:gd name="connsiteX8" fmla="*/ 1720645 w 2192594"/>
              <a:gd name="connsiteY8" fmla="*/ 589935 h 2959510"/>
              <a:gd name="connsiteX9" fmla="*/ 1720645 w 2192594"/>
              <a:gd name="connsiteY9" fmla="*/ 2959510 h 2959510"/>
              <a:gd name="connsiteX10" fmla="*/ 2192594 w 2192594"/>
              <a:gd name="connsiteY10" fmla="*/ 2949677 h 2959510"/>
              <a:gd name="connsiteX11" fmla="*/ 2163097 w 2192594"/>
              <a:gd name="connsiteY11" fmla="*/ 0 h 2959510"/>
              <a:gd name="connsiteX12" fmla="*/ 0 w 2192594"/>
              <a:gd name="connsiteY12" fmla="*/ 117987 h 2959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192594" h="2959510">
                <a:moveTo>
                  <a:pt x="0" y="117987"/>
                </a:moveTo>
                <a:lnTo>
                  <a:pt x="58994" y="1455174"/>
                </a:lnTo>
                <a:lnTo>
                  <a:pt x="560439" y="1465006"/>
                </a:lnTo>
                <a:lnTo>
                  <a:pt x="580103" y="1868129"/>
                </a:lnTo>
                <a:lnTo>
                  <a:pt x="78658" y="1868129"/>
                </a:lnTo>
                <a:lnTo>
                  <a:pt x="117987" y="2949677"/>
                </a:lnTo>
                <a:lnTo>
                  <a:pt x="717755" y="2930013"/>
                </a:lnTo>
                <a:cubicBezTo>
                  <a:pt x="714478" y="2140155"/>
                  <a:pt x="711200" y="1350297"/>
                  <a:pt x="707923" y="560439"/>
                </a:cubicBezTo>
                <a:lnTo>
                  <a:pt x="1720645" y="589935"/>
                </a:lnTo>
                <a:lnTo>
                  <a:pt x="1720645" y="2959510"/>
                </a:lnTo>
                <a:lnTo>
                  <a:pt x="2192594" y="2949677"/>
                </a:lnTo>
                <a:lnTo>
                  <a:pt x="2163097" y="0"/>
                </a:lnTo>
                <a:lnTo>
                  <a:pt x="0" y="117987"/>
                </a:lnTo>
                <a:close/>
              </a:path>
            </a:pathLst>
          </a:custGeom>
          <a:solidFill>
            <a:srgbClr val="FFFFFF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E7641FD-2E54-CD56-73C7-8E1528750013}"/>
              </a:ext>
            </a:extLst>
          </p:cNvPr>
          <p:cNvSpPr/>
          <p:nvPr/>
        </p:nvSpPr>
        <p:spPr>
          <a:xfrm>
            <a:off x="8355374" y="2694030"/>
            <a:ext cx="1024600" cy="2348500"/>
          </a:xfrm>
          <a:prstGeom prst="rect">
            <a:avLst/>
          </a:prstGeom>
          <a:noFill/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8689798-E037-59BB-F2DE-3CFE6CB14DB0}"/>
              </a:ext>
            </a:extLst>
          </p:cNvPr>
          <p:cNvSpPr/>
          <p:nvPr/>
        </p:nvSpPr>
        <p:spPr>
          <a:xfrm>
            <a:off x="7686777" y="3578933"/>
            <a:ext cx="550607" cy="393291"/>
          </a:xfrm>
          <a:prstGeom prst="rect">
            <a:avLst/>
          </a:prstGeom>
          <a:noFill/>
          <a:ln w="76200"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131B7F57-DD89-3B4B-0297-EC1CB38E5CF9}"/>
              </a:ext>
            </a:extLst>
          </p:cNvPr>
          <p:cNvSpPr txBox="1"/>
          <p:nvPr/>
        </p:nvSpPr>
        <p:spPr>
          <a:xfrm>
            <a:off x="6407024" y="4310030"/>
            <a:ext cx="183422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>
                <a:solidFill>
                  <a:schemeClr val="accent3"/>
                </a:solidFill>
              </a:rPr>
              <a:t>Voltage regulator</a:t>
            </a:r>
          </a:p>
          <a:p>
            <a:pPr algn="ctr"/>
            <a:r>
              <a:rPr lang="en-GB" b="1">
                <a:solidFill>
                  <a:schemeClr val="accent3"/>
                </a:solidFill>
              </a:rPr>
              <a:t>9V to 5V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7A6AD52D-401E-1A27-CEFE-84425C9640E7}"/>
              </a:ext>
            </a:extLst>
          </p:cNvPr>
          <p:cNvSpPr txBox="1"/>
          <p:nvPr/>
        </p:nvSpPr>
        <p:spPr>
          <a:xfrm>
            <a:off x="9122912" y="2222682"/>
            <a:ext cx="11943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>
                <a:solidFill>
                  <a:schemeClr val="accent2"/>
                </a:solidFill>
              </a:rPr>
              <a:t>9V Battery</a:t>
            </a:r>
          </a:p>
        </p:txBody>
      </p:sp>
    </p:spTree>
    <p:extLst>
      <p:ext uri="{BB962C8B-B14F-4D97-AF65-F5344CB8AC3E}">
        <p14:creationId xmlns:p14="http://schemas.microsoft.com/office/powerpoint/2010/main" val="38431169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/>
              <a:t>PCB &amp; </a:t>
            </a:r>
            <a:r>
              <a:rPr lang="it-IT" sz="3200" err="1"/>
              <a:t>Casing</a:t>
            </a:r>
            <a:endParaRPr lang="it-IT" sz="3200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2CAB33AD-44CC-02F9-F9DC-C4EFDE743ECB}"/>
              </a:ext>
            </a:extLst>
          </p:cNvPr>
          <p:cNvSpPr txBox="1"/>
          <p:nvPr/>
        </p:nvSpPr>
        <p:spPr>
          <a:xfrm>
            <a:off x="154215" y="6292352"/>
            <a:ext cx="4722312" cy="369332"/>
          </a:xfrm>
          <a:prstGeom prst="rect">
            <a:avLst/>
          </a:prstGeom>
          <a:solidFill>
            <a:srgbClr val="728FA5"/>
          </a:solidFill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M. Alfonzo, C. </a:t>
            </a:r>
            <a:r>
              <a:rPr lang="it-IT" err="1">
                <a:solidFill>
                  <a:schemeClr val="bg1"/>
                </a:solidFill>
              </a:rPr>
              <a:t>Canavate</a:t>
            </a:r>
            <a:r>
              <a:rPr lang="it-IT">
                <a:solidFill>
                  <a:schemeClr val="bg1"/>
                </a:solidFill>
              </a:rPr>
              <a:t>, P. </a:t>
            </a:r>
            <a:r>
              <a:rPr lang="it-IT" err="1">
                <a:solidFill>
                  <a:schemeClr val="bg1"/>
                </a:solidFill>
              </a:rPr>
              <a:t>Franke</a:t>
            </a:r>
            <a:endParaRPr lang="it-IT">
              <a:solidFill>
                <a:schemeClr val="bg1"/>
              </a:solidFill>
            </a:endParaRPr>
          </a:p>
        </p:txBody>
      </p:sp>
      <p:pic>
        <p:nvPicPr>
          <p:cNvPr id="18" name="Immagine 17">
            <a:extLst>
              <a:ext uri="{FF2B5EF4-FFF2-40B4-BE49-F238E27FC236}">
                <a16:creationId xmlns:a16="http://schemas.microsoft.com/office/drawing/2014/main" id="{4318437C-E272-8A20-5031-4C449FDAE0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803" y="1425454"/>
            <a:ext cx="4308724" cy="4213348"/>
          </a:xfrm>
          <a:prstGeom prst="rect">
            <a:avLst/>
          </a:prstGeom>
        </p:spPr>
      </p:pic>
      <p:pic>
        <p:nvPicPr>
          <p:cNvPr id="47" name="Immagine 46">
            <a:extLst>
              <a:ext uri="{FF2B5EF4-FFF2-40B4-BE49-F238E27FC236}">
                <a16:creationId xmlns:a16="http://schemas.microsoft.com/office/drawing/2014/main" id="{9A545285-6B83-ACFD-8375-BEB80C5F8C3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270" b="24203"/>
          <a:stretch/>
        </p:blipFill>
        <p:spPr>
          <a:xfrm>
            <a:off x="5250927" y="1624406"/>
            <a:ext cx="3817395" cy="1756515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B16FCCD3-5650-8799-2D60-4ABB43F275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50927" y="3806687"/>
            <a:ext cx="3043471" cy="1913132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50AE6AA2-D7A1-1BCD-0C38-6100FDDA0A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45745" y="3276155"/>
            <a:ext cx="1978452" cy="1376862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A24D0CAE-2A6B-FEAC-18D2-3323A5611E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94398" y="5043196"/>
            <a:ext cx="3595605" cy="59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1293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6785AE7-8B00-486C-9A8C-F571C9317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/>
              <a:t>Hardware – Wearables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2A494FAE-5EFA-D3A9-A9D9-FD59F1525BE7}"/>
              </a:ext>
            </a:extLst>
          </p:cNvPr>
          <p:cNvSpPr txBox="1"/>
          <p:nvPr/>
        </p:nvSpPr>
        <p:spPr>
          <a:xfrm>
            <a:off x="154215" y="6292352"/>
            <a:ext cx="4722312" cy="369332"/>
          </a:xfrm>
          <a:prstGeom prst="rect">
            <a:avLst/>
          </a:prstGeom>
          <a:solidFill>
            <a:srgbClr val="728FA5"/>
          </a:solidFill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M. Alfonzo, C. </a:t>
            </a:r>
            <a:r>
              <a:rPr lang="it-IT" err="1">
                <a:solidFill>
                  <a:schemeClr val="bg1"/>
                </a:solidFill>
              </a:rPr>
              <a:t>Canavate</a:t>
            </a:r>
            <a:r>
              <a:rPr lang="it-IT">
                <a:solidFill>
                  <a:schemeClr val="bg1"/>
                </a:solidFill>
              </a:rPr>
              <a:t>, P. </a:t>
            </a:r>
            <a:r>
              <a:rPr lang="it-IT" err="1">
                <a:solidFill>
                  <a:schemeClr val="bg1"/>
                </a:solidFill>
              </a:rPr>
              <a:t>Franke</a:t>
            </a:r>
            <a:endParaRPr lang="it-IT">
              <a:solidFill>
                <a:schemeClr val="bg1"/>
              </a:solidFill>
            </a:endParaRPr>
          </a:p>
        </p:txBody>
      </p:sp>
      <p:pic>
        <p:nvPicPr>
          <p:cNvPr id="8" name="Image 7" descr="Une image contenant personne&#10;&#10;Description générée automatiquement">
            <a:extLst>
              <a:ext uri="{FF2B5EF4-FFF2-40B4-BE49-F238E27FC236}">
                <a16:creationId xmlns:a16="http://schemas.microsoft.com/office/drawing/2014/main" id="{21D492DE-2C37-EAAC-A18C-6762A765104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2" t="28358" r="12250" b="23912"/>
          <a:stretch/>
        </p:blipFill>
        <p:spPr>
          <a:xfrm rot="10800000">
            <a:off x="4762757" y="4323172"/>
            <a:ext cx="3812798" cy="176252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996C2096-AF38-057E-38A3-DA4AE464DF0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10" r="3904"/>
          <a:stretch/>
        </p:blipFill>
        <p:spPr>
          <a:xfrm>
            <a:off x="64764" y="1319881"/>
            <a:ext cx="4612404" cy="47658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768D4EAF-AAA7-12D2-AC29-6B19837A8AA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34" r="4078" b="19725"/>
          <a:stretch/>
        </p:blipFill>
        <p:spPr>
          <a:xfrm rot="10800000">
            <a:off x="6669156" y="1319881"/>
            <a:ext cx="5458079" cy="293783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10D91B8B-95A3-7950-33F4-F0C65428C2FB}"/>
              </a:ext>
            </a:extLst>
          </p:cNvPr>
          <p:cNvSpPr txBox="1"/>
          <p:nvPr/>
        </p:nvSpPr>
        <p:spPr>
          <a:xfrm>
            <a:off x="10840227" y="2604131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/>
              <a:t>Ankle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9AAE5E7A-AFF6-8CEC-C451-B4DB9D4A29B5}"/>
              </a:ext>
            </a:extLst>
          </p:cNvPr>
          <p:cNvSpPr txBox="1"/>
          <p:nvPr/>
        </p:nvSpPr>
        <p:spPr>
          <a:xfrm>
            <a:off x="8309061" y="2419465"/>
            <a:ext cx="7094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/>
              <a:t>Chest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EA0AAACE-10EF-23B3-5A39-E9B78A1965A2}"/>
              </a:ext>
            </a:extLst>
          </p:cNvPr>
          <p:cNvSpPr txBox="1"/>
          <p:nvPr/>
        </p:nvSpPr>
        <p:spPr>
          <a:xfrm>
            <a:off x="2093712" y="4323172"/>
            <a:ext cx="19794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/>
              <a:t>2-meter long wires</a:t>
            </a: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1DF06903-DDD6-1B4A-BA75-E6B079A60872}"/>
              </a:ext>
            </a:extLst>
          </p:cNvPr>
          <p:cNvGrpSpPr/>
          <p:nvPr/>
        </p:nvGrpSpPr>
        <p:grpSpPr>
          <a:xfrm>
            <a:off x="5162592" y="1741010"/>
            <a:ext cx="1027582" cy="2095573"/>
            <a:chOff x="9143580" y="2325598"/>
            <a:chExt cx="1438365" cy="2933293"/>
          </a:xfrm>
        </p:grpSpPr>
        <p:pic>
          <p:nvPicPr>
            <p:cNvPr id="16" name="Picture 2">
              <a:extLst>
                <a:ext uri="{FF2B5EF4-FFF2-40B4-BE49-F238E27FC236}">
                  <a16:creationId xmlns:a16="http://schemas.microsoft.com/office/drawing/2014/main" id="{AA1CFA04-BE1A-385F-51C1-40D3F3FCC61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263" r="26348"/>
            <a:stretch/>
          </p:blipFill>
          <p:spPr bwMode="auto">
            <a:xfrm>
              <a:off x="9221231" y="2325598"/>
              <a:ext cx="1360714" cy="29332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Rettangolo con angoli arrotondati 59">
              <a:extLst>
                <a:ext uri="{FF2B5EF4-FFF2-40B4-BE49-F238E27FC236}">
                  <a16:creationId xmlns:a16="http://schemas.microsoft.com/office/drawing/2014/main" id="{BC935FDC-9907-29EB-66D5-EB298B1D9F6D}"/>
                </a:ext>
              </a:extLst>
            </p:cNvPr>
            <p:cNvSpPr/>
            <p:nvPr/>
          </p:nvSpPr>
          <p:spPr>
            <a:xfrm>
              <a:off x="9897725" y="4787381"/>
              <a:ext cx="195943" cy="143838"/>
            </a:xfrm>
            <a:prstGeom prst="roundRect">
              <a:avLst/>
            </a:prstGeom>
            <a:solidFill>
              <a:srgbClr val="FF00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mc:AlternateContent xmlns:mc="http://schemas.openxmlformats.org/markup-compatibility/2006">
          <mc:Choice xmlns:p14="http://schemas.microsoft.com/office/powerpoint/2010/main" Requires="p14">
            <p:contentPart p14:bwMode="auto" r:id="rId7">
              <p14:nvContentPartPr>
                <p14:cNvPr id="20" name="Input penna 2">
                  <a:extLst>
                    <a:ext uri="{FF2B5EF4-FFF2-40B4-BE49-F238E27FC236}">
                      <a16:creationId xmlns:a16="http://schemas.microsoft.com/office/drawing/2014/main" id="{AB2F7A36-A46F-3FBA-1AFB-4993B7BB7E04}"/>
                    </a:ext>
                  </a:extLst>
                </p14:cNvPr>
                <p14:cNvContentPartPr/>
                <p14:nvPr/>
              </p14:nvContentPartPr>
              <p14:xfrm>
                <a:off x="9511095" y="3054036"/>
                <a:ext cx="287077" cy="360"/>
              </p14:xfrm>
            </p:contentPart>
          </mc:Choice>
          <mc:Fallback>
            <p:pic>
              <p:nvPicPr>
                <p:cNvPr id="20" name="Input penna 2">
                  <a:extLst>
                    <a:ext uri="{FF2B5EF4-FFF2-40B4-BE49-F238E27FC236}">
                      <a16:creationId xmlns:a16="http://schemas.microsoft.com/office/drawing/2014/main" id="{AB2F7A36-A46F-3FBA-1AFB-4993B7BB7E04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9498504" y="3045036"/>
                  <a:ext cx="311756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">
              <p14:nvContentPartPr>
                <p14:cNvPr id="21" name="Input penna 6">
                  <a:extLst>
                    <a:ext uri="{FF2B5EF4-FFF2-40B4-BE49-F238E27FC236}">
                      <a16:creationId xmlns:a16="http://schemas.microsoft.com/office/drawing/2014/main" id="{58C2900C-6C98-0AE2-EF08-B813EC8773A4}"/>
                    </a:ext>
                  </a:extLst>
                </p14:cNvPr>
                <p14:cNvContentPartPr/>
                <p14:nvPr/>
              </p14:nvContentPartPr>
              <p14:xfrm>
                <a:off x="9143580" y="3573780"/>
                <a:ext cx="360" cy="360"/>
              </p14:xfrm>
            </p:contentPart>
          </mc:Choice>
          <mc:Fallback>
            <p:pic>
              <p:nvPicPr>
                <p:cNvPr id="21" name="Input penna 6">
                  <a:extLst>
                    <a:ext uri="{FF2B5EF4-FFF2-40B4-BE49-F238E27FC236}">
                      <a16:creationId xmlns:a16="http://schemas.microsoft.com/office/drawing/2014/main" id="{58C2900C-6C98-0AE2-EF08-B813EC8773A4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9134580" y="3564780"/>
                  <a:ext cx="1800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">
              <p14:nvContentPartPr>
                <p14:cNvPr id="22" name="Input penna 15">
                  <a:extLst>
                    <a:ext uri="{FF2B5EF4-FFF2-40B4-BE49-F238E27FC236}">
                      <a16:creationId xmlns:a16="http://schemas.microsoft.com/office/drawing/2014/main" id="{FFC38526-42C3-0648-86A8-31A3A3028613}"/>
                    </a:ext>
                  </a:extLst>
                </p14:cNvPr>
                <p14:cNvContentPartPr/>
                <p14:nvPr/>
              </p14:nvContentPartPr>
              <p14:xfrm>
                <a:off x="9985470" y="3054036"/>
                <a:ext cx="265366" cy="360"/>
              </p14:xfrm>
            </p:contentPart>
          </mc:Choice>
          <mc:Fallback>
            <p:pic>
              <p:nvPicPr>
                <p:cNvPr id="22" name="Input penna 15">
                  <a:extLst>
                    <a:ext uri="{FF2B5EF4-FFF2-40B4-BE49-F238E27FC236}">
                      <a16:creationId xmlns:a16="http://schemas.microsoft.com/office/drawing/2014/main" id="{FFC38526-42C3-0648-86A8-31A3A3028613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9972905" y="3045036"/>
                  <a:ext cx="289993" cy="1800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23" name="Rettangolo con angoli arrotondati 9">
              <a:extLst>
                <a:ext uri="{FF2B5EF4-FFF2-40B4-BE49-F238E27FC236}">
                  <a16:creationId xmlns:a16="http://schemas.microsoft.com/office/drawing/2014/main" id="{226A9BEA-2D63-9003-D1CD-CD7FBE1E763C}"/>
                </a:ext>
              </a:extLst>
            </p:cNvPr>
            <p:cNvSpPr/>
            <p:nvPr/>
          </p:nvSpPr>
          <p:spPr>
            <a:xfrm>
              <a:off x="9798173" y="2994149"/>
              <a:ext cx="195943" cy="143838"/>
            </a:xfrm>
            <a:prstGeom prst="roundRect">
              <a:avLst/>
            </a:prstGeom>
            <a:solidFill>
              <a:srgbClr val="FF00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24" name="Ovale 23">
            <a:extLst>
              <a:ext uri="{FF2B5EF4-FFF2-40B4-BE49-F238E27FC236}">
                <a16:creationId xmlns:a16="http://schemas.microsoft.com/office/drawing/2014/main" id="{6512CB9C-DFFB-6ED9-0D59-B414D385B871}"/>
              </a:ext>
            </a:extLst>
          </p:cNvPr>
          <p:cNvSpPr/>
          <p:nvPr/>
        </p:nvSpPr>
        <p:spPr>
          <a:xfrm>
            <a:off x="5023728" y="2503170"/>
            <a:ext cx="277727" cy="33317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8353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6785AE7-8B00-486C-9A8C-F571C9317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/>
              <a:t>FIFO, I2C and Bluetooth communication</a:t>
            </a: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94BD3B13-98E8-DCEF-FEC6-5A505BDA84C6}"/>
              </a:ext>
            </a:extLst>
          </p:cNvPr>
          <p:cNvSpPr txBox="1"/>
          <p:nvPr/>
        </p:nvSpPr>
        <p:spPr>
          <a:xfrm>
            <a:off x="154215" y="6292352"/>
            <a:ext cx="4722312" cy="369332"/>
          </a:xfrm>
          <a:prstGeom prst="rect">
            <a:avLst/>
          </a:prstGeom>
          <a:solidFill>
            <a:srgbClr val="728FA5"/>
          </a:solidFill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M. Alfonzo, C. </a:t>
            </a:r>
            <a:r>
              <a:rPr lang="it-IT" err="1">
                <a:solidFill>
                  <a:schemeClr val="bg1"/>
                </a:solidFill>
              </a:rPr>
              <a:t>Canavate</a:t>
            </a:r>
            <a:r>
              <a:rPr lang="it-IT">
                <a:solidFill>
                  <a:schemeClr val="bg1"/>
                </a:solidFill>
              </a:rPr>
              <a:t>, P. </a:t>
            </a:r>
            <a:r>
              <a:rPr lang="it-IT" err="1">
                <a:solidFill>
                  <a:schemeClr val="bg1"/>
                </a:solidFill>
              </a:rPr>
              <a:t>Franke</a:t>
            </a:r>
            <a:endParaRPr lang="it-IT">
              <a:solidFill>
                <a:schemeClr val="bg1"/>
              </a:solidFill>
            </a:endParaRPr>
          </a:p>
        </p:txBody>
      </p: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64BD9093-083E-67FE-2A84-C2DAF5354180}"/>
              </a:ext>
            </a:extLst>
          </p:cNvPr>
          <p:cNvGrpSpPr/>
          <p:nvPr/>
        </p:nvGrpSpPr>
        <p:grpSpPr>
          <a:xfrm>
            <a:off x="8247628" y="1580497"/>
            <a:ext cx="3099688" cy="2550105"/>
            <a:chOff x="1278194" y="1907458"/>
            <a:chExt cx="3099688" cy="2550105"/>
          </a:xfrm>
        </p:grpSpPr>
        <p:sp>
          <p:nvSpPr>
            <p:cNvPr id="24" name="Rectangle : coins arrondis 23">
              <a:extLst>
                <a:ext uri="{FF2B5EF4-FFF2-40B4-BE49-F238E27FC236}">
                  <a16:creationId xmlns:a16="http://schemas.microsoft.com/office/drawing/2014/main" id="{F17D4059-578B-85F6-7AA3-3A797D2EA966}"/>
                </a:ext>
              </a:extLst>
            </p:cNvPr>
            <p:cNvSpPr/>
            <p:nvPr/>
          </p:nvSpPr>
          <p:spPr>
            <a:xfrm>
              <a:off x="1681314" y="1944198"/>
              <a:ext cx="2315925" cy="2513365"/>
            </a:xfrm>
            <a:prstGeom prst="roundRect">
              <a:avLst/>
            </a:prstGeom>
            <a:no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" name="Flèche : pentagone 24">
              <a:extLst>
                <a:ext uri="{FF2B5EF4-FFF2-40B4-BE49-F238E27FC236}">
                  <a16:creationId xmlns:a16="http://schemas.microsoft.com/office/drawing/2014/main" id="{7B82DB4C-586F-B58B-9D1B-4E7E48A6EBB5}"/>
                </a:ext>
              </a:extLst>
            </p:cNvPr>
            <p:cNvSpPr/>
            <p:nvPr/>
          </p:nvSpPr>
          <p:spPr>
            <a:xfrm>
              <a:off x="1799303" y="1944200"/>
              <a:ext cx="2578579" cy="766916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3B7176F7-3026-CF95-3224-2B5F291EDDBD}"/>
                </a:ext>
              </a:extLst>
            </p:cNvPr>
            <p:cNvSpPr/>
            <p:nvPr/>
          </p:nvSpPr>
          <p:spPr>
            <a:xfrm>
              <a:off x="1278194" y="1907458"/>
              <a:ext cx="865238" cy="8404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10AF5D87-EAB9-E454-082E-C2A313504071}"/>
              </a:ext>
            </a:extLst>
          </p:cNvPr>
          <p:cNvGrpSpPr/>
          <p:nvPr/>
        </p:nvGrpSpPr>
        <p:grpSpPr>
          <a:xfrm>
            <a:off x="4283460" y="1580497"/>
            <a:ext cx="3266606" cy="2550106"/>
            <a:chOff x="1278194" y="1907458"/>
            <a:chExt cx="3266606" cy="2550106"/>
          </a:xfrm>
        </p:grpSpPr>
        <p:sp>
          <p:nvSpPr>
            <p:cNvPr id="28" name="Rectangle : coins arrondis 27">
              <a:extLst>
                <a:ext uri="{FF2B5EF4-FFF2-40B4-BE49-F238E27FC236}">
                  <a16:creationId xmlns:a16="http://schemas.microsoft.com/office/drawing/2014/main" id="{22EC38D6-F123-E45E-09A4-963934976E08}"/>
                </a:ext>
              </a:extLst>
            </p:cNvPr>
            <p:cNvSpPr/>
            <p:nvPr/>
          </p:nvSpPr>
          <p:spPr>
            <a:xfrm>
              <a:off x="1690742" y="1944200"/>
              <a:ext cx="2468133" cy="2513364"/>
            </a:xfrm>
            <a:prstGeom prst="roundRect">
              <a:avLst/>
            </a:prstGeom>
            <a:no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9" name="Flèche : pentagone 28">
              <a:extLst>
                <a:ext uri="{FF2B5EF4-FFF2-40B4-BE49-F238E27FC236}">
                  <a16:creationId xmlns:a16="http://schemas.microsoft.com/office/drawing/2014/main" id="{D138AB5D-F385-0468-7E7D-C2AD59E2BF6C}"/>
                </a:ext>
              </a:extLst>
            </p:cNvPr>
            <p:cNvSpPr/>
            <p:nvPr/>
          </p:nvSpPr>
          <p:spPr>
            <a:xfrm>
              <a:off x="1799304" y="1944200"/>
              <a:ext cx="2745496" cy="766916"/>
            </a:xfrm>
            <a:prstGeom prst="homePlat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E05CCCFC-B2D0-EF41-584B-A8CAB760C06F}"/>
                </a:ext>
              </a:extLst>
            </p:cNvPr>
            <p:cNvSpPr/>
            <p:nvPr/>
          </p:nvSpPr>
          <p:spPr>
            <a:xfrm>
              <a:off x="1278194" y="1907458"/>
              <a:ext cx="865238" cy="8404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420BDE89-A19D-AF04-E9D6-4B08D9611382}"/>
              </a:ext>
            </a:extLst>
          </p:cNvPr>
          <p:cNvGrpSpPr/>
          <p:nvPr/>
        </p:nvGrpSpPr>
        <p:grpSpPr>
          <a:xfrm>
            <a:off x="731598" y="1580497"/>
            <a:ext cx="2985989" cy="2550106"/>
            <a:chOff x="1278194" y="1907458"/>
            <a:chExt cx="2985989" cy="2550106"/>
          </a:xfrm>
        </p:grpSpPr>
        <p:sp>
          <p:nvSpPr>
            <p:cNvPr id="32" name="Rectangle : coins arrondis 31">
              <a:extLst>
                <a:ext uri="{FF2B5EF4-FFF2-40B4-BE49-F238E27FC236}">
                  <a16:creationId xmlns:a16="http://schemas.microsoft.com/office/drawing/2014/main" id="{09871A0D-0C43-EDA4-0D28-E8E1027FE6F8}"/>
                </a:ext>
              </a:extLst>
            </p:cNvPr>
            <p:cNvSpPr/>
            <p:nvPr/>
          </p:nvSpPr>
          <p:spPr>
            <a:xfrm>
              <a:off x="1681315" y="1944200"/>
              <a:ext cx="2209348" cy="2513364"/>
            </a:xfrm>
            <a:prstGeom prst="roundRect">
              <a:avLst/>
            </a:prstGeom>
            <a:no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3" name="Flèche : pentagone 32">
              <a:extLst>
                <a:ext uri="{FF2B5EF4-FFF2-40B4-BE49-F238E27FC236}">
                  <a16:creationId xmlns:a16="http://schemas.microsoft.com/office/drawing/2014/main" id="{F3E01682-EF80-AA67-4A8F-99893DA3B43A}"/>
                </a:ext>
              </a:extLst>
            </p:cNvPr>
            <p:cNvSpPr/>
            <p:nvPr/>
          </p:nvSpPr>
          <p:spPr>
            <a:xfrm>
              <a:off x="1799303" y="1944200"/>
              <a:ext cx="2464880" cy="766916"/>
            </a:xfrm>
            <a:prstGeom prst="homePlat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429DE046-4F85-5E1B-55EA-69B78689CA4F}"/>
                </a:ext>
              </a:extLst>
            </p:cNvPr>
            <p:cNvSpPr/>
            <p:nvPr/>
          </p:nvSpPr>
          <p:spPr>
            <a:xfrm>
              <a:off x="1278194" y="1907458"/>
              <a:ext cx="865238" cy="8404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8" name="ZoneTexte 37">
            <a:extLst>
              <a:ext uri="{FF2B5EF4-FFF2-40B4-BE49-F238E27FC236}">
                <a16:creationId xmlns:a16="http://schemas.microsoft.com/office/drawing/2014/main" id="{45011607-5921-4D0A-BD8A-98C63D21995E}"/>
              </a:ext>
            </a:extLst>
          </p:cNvPr>
          <p:cNvSpPr txBox="1"/>
          <p:nvPr/>
        </p:nvSpPr>
        <p:spPr>
          <a:xfrm>
            <a:off x="1785818" y="1800887"/>
            <a:ext cx="119013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>
                <a:solidFill>
                  <a:schemeClr val="bg1"/>
                </a:solidFill>
              </a:rPr>
              <a:t>FIFO buffers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19214B08-F411-0EA5-A00A-23F9F9466503}"/>
              </a:ext>
            </a:extLst>
          </p:cNvPr>
          <p:cNvSpPr txBox="1"/>
          <p:nvPr/>
        </p:nvSpPr>
        <p:spPr>
          <a:xfrm>
            <a:off x="5201455" y="1811037"/>
            <a:ext cx="17902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>
                <a:solidFill>
                  <a:schemeClr val="bg1"/>
                </a:solidFill>
              </a:rPr>
              <a:t>I2C communication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058690E3-26B5-FB97-4DEA-A1B11A2ACFD6}"/>
              </a:ext>
            </a:extLst>
          </p:cNvPr>
          <p:cNvSpPr txBox="1"/>
          <p:nvPr/>
        </p:nvSpPr>
        <p:spPr>
          <a:xfrm>
            <a:off x="9203388" y="1810313"/>
            <a:ext cx="14686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>
                <a:solidFill>
                  <a:schemeClr val="accent1">
                    <a:lumMod val="75000"/>
                  </a:schemeClr>
                </a:solidFill>
              </a:rPr>
              <a:t>Bluetooth com.</a:t>
            </a:r>
          </a:p>
        </p:txBody>
      </p:sp>
      <p:pic>
        <p:nvPicPr>
          <p:cNvPr id="46" name="Immagine 8">
            <a:extLst>
              <a:ext uri="{FF2B5EF4-FFF2-40B4-BE49-F238E27FC236}">
                <a16:creationId xmlns:a16="http://schemas.microsoft.com/office/drawing/2014/main" id="{C0ECADB7-15DF-23CF-30E2-12A4BB13DD3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865"/>
          <a:stretch/>
        </p:blipFill>
        <p:spPr>
          <a:xfrm>
            <a:off x="920580" y="1755101"/>
            <a:ext cx="506125" cy="499884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7" name="ZoneTexte 16">
                <a:extLst>
                  <a:ext uri="{FF2B5EF4-FFF2-40B4-BE49-F238E27FC236}">
                    <a16:creationId xmlns:a16="http://schemas.microsoft.com/office/drawing/2014/main" id="{ABDF4A95-6025-DE10-A8A7-064D9EEEC7B1}"/>
                  </a:ext>
                </a:extLst>
              </p:cNvPr>
              <p:cNvSpPr txBox="1"/>
              <p:nvPr/>
            </p:nvSpPr>
            <p:spPr>
              <a:xfrm>
                <a:off x="1153572" y="2504129"/>
                <a:ext cx="2190495" cy="13696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600"/>
                  <a:t>Reduce CPU load</a:t>
                </a:r>
              </a:p>
              <a:p>
                <a:endParaRPr lang="en-GB" sz="160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600"/>
                  <a:t>32 samples for each accelerometer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70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en-GB" sz="12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200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GB" sz="1200" i="1">
                              <a:latin typeface="Cambria Math" panose="02040503050406030204" pitchFamily="18" charset="0"/>
                            </a:rPr>
                            <m:t>1, </m:t>
                          </m:r>
                          <m:r>
                            <a:rPr lang="en-GB" sz="1200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n-GB" sz="1200" i="1">
                              <a:latin typeface="Cambria Math" panose="02040503050406030204" pitchFamily="18" charset="0"/>
                            </a:rPr>
                            <m:t>1, </m:t>
                          </m:r>
                          <m:r>
                            <a:rPr lang="en-GB" sz="1200" i="1">
                              <a:latin typeface="Cambria Math" panose="02040503050406030204" pitchFamily="18" charset="0"/>
                            </a:rPr>
                            <m:t>𝑧</m:t>
                          </m:r>
                          <m:r>
                            <a:rPr lang="en-GB" sz="1200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</m:d>
                      <m:r>
                        <a:rPr lang="en-GB" sz="1200" i="1">
                          <a:latin typeface="Cambria Math" panose="02040503050406030204" pitchFamily="18" charset="0"/>
                        </a:rPr>
                        <m:t>, …, [</m:t>
                      </m:r>
                      <m:r>
                        <a:rPr lang="en-GB" sz="1200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GB" sz="1200" i="1">
                          <a:latin typeface="Cambria Math" panose="02040503050406030204" pitchFamily="18" charset="0"/>
                        </a:rPr>
                        <m:t>32, </m:t>
                      </m:r>
                      <m:r>
                        <a:rPr lang="en-GB" sz="1200" i="1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GB" sz="1200" i="1">
                          <a:latin typeface="Cambria Math" panose="02040503050406030204" pitchFamily="18" charset="0"/>
                        </a:rPr>
                        <m:t>32, </m:t>
                      </m:r>
                      <m:r>
                        <a:rPr lang="en-GB" sz="1200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GB" sz="1200" i="1">
                          <a:latin typeface="Cambria Math" panose="02040503050406030204" pitchFamily="18" charset="0"/>
                        </a:rPr>
                        <m:t>32]</m:t>
                      </m:r>
                    </m:oMath>
                  </m:oMathPara>
                </a14:m>
                <a:endParaRPr lang="en-GB" sz="1200"/>
              </a:p>
            </p:txBody>
          </p:sp>
        </mc:Choice>
        <mc:Fallback>
          <p:sp>
            <p:nvSpPr>
              <p:cNvPr id="17" name="ZoneTexte 16">
                <a:extLst>
                  <a:ext uri="{FF2B5EF4-FFF2-40B4-BE49-F238E27FC236}">
                    <a16:creationId xmlns:a16="http://schemas.microsoft.com/office/drawing/2014/main" id="{ABDF4A95-6025-DE10-A8A7-064D9EEEC7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3572" y="2504129"/>
                <a:ext cx="2190495" cy="1369606"/>
              </a:xfrm>
              <a:prstGeom prst="rect">
                <a:avLst/>
              </a:prstGeom>
              <a:blipFill>
                <a:blip r:embed="rId4"/>
                <a:stretch>
                  <a:fillRect l="-1111" t="-1339" b="-133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8" name="Picture 2" descr="I²C - Wikipedia">
            <a:extLst>
              <a:ext uri="{FF2B5EF4-FFF2-40B4-BE49-F238E27FC236}">
                <a16:creationId xmlns:a16="http://schemas.microsoft.com/office/drawing/2014/main" id="{019F9CA7-9B90-1C78-5021-50E91DEC4D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7792" y="1669415"/>
            <a:ext cx="618062" cy="678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ZoneTexte 53">
            <a:extLst>
              <a:ext uri="{FF2B5EF4-FFF2-40B4-BE49-F238E27FC236}">
                <a16:creationId xmlns:a16="http://schemas.microsoft.com/office/drawing/2014/main" id="{9393E20B-32D3-E4FF-69AA-21A13342D28F}"/>
              </a:ext>
            </a:extLst>
          </p:cNvPr>
          <p:cNvSpPr txBox="1"/>
          <p:nvPr/>
        </p:nvSpPr>
        <p:spPr>
          <a:xfrm>
            <a:off x="4714863" y="2495060"/>
            <a:ext cx="2590681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Set ODR = 10H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Switch to FIFO m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Get 32 samples for each accelerometer</a:t>
            </a:r>
          </a:p>
          <a:p>
            <a:endParaRPr lang="en-GB" sz="16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/>
          </a:p>
        </p:txBody>
      </p:sp>
      <p:pic>
        <p:nvPicPr>
          <p:cNvPr id="55" name="Image 54">
            <a:extLst>
              <a:ext uri="{FF2B5EF4-FFF2-40B4-BE49-F238E27FC236}">
                <a16:creationId xmlns:a16="http://schemas.microsoft.com/office/drawing/2014/main" id="{F5FEC9E2-9E2E-C615-2506-3E489D675E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6200000">
            <a:off x="8574391" y="1671581"/>
            <a:ext cx="257040" cy="658232"/>
          </a:xfrm>
          <a:prstGeom prst="rect">
            <a:avLst/>
          </a:prstGeom>
        </p:spPr>
      </p:pic>
      <p:sp>
        <p:nvSpPr>
          <p:cNvPr id="56" name="ZoneTexte 55">
            <a:extLst>
              <a:ext uri="{FF2B5EF4-FFF2-40B4-BE49-F238E27FC236}">
                <a16:creationId xmlns:a16="http://schemas.microsoft.com/office/drawing/2014/main" id="{A9E03ACB-4620-E826-9C36-5CB261561645}"/>
              </a:ext>
            </a:extLst>
          </p:cNvPr>
          <p:cNvSpPr txBox="1"/>
          <p:nvPr/>
        </p:nvSpPr>
        <p:spPr>
          <a:xfrm>
            <a:off x="8663805" y="2626436"/>
            <a:ext cx="2590681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Send averaged data – string mess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Baudrate 9600 bps</a:t>
            </a:r>
          </a:p>
          <a:p>
            <a:endParaRPr lang="en-GB" sz="1200"/>
          </a:p>
        </p:txBody>
      </p:sp>
      <p:sp>
        <p:nvSpPr>
          <p:cNvPr id="61" name="Flèche : pentagone 60">
            <a:extLst>
              <a:ext uri="{FF2B5EF4-FFF2-40B4-BE49-F238E27FC236}">
                <a16:creationId xmlns:a16="http://schemas.microsoft.com/office/drawing/2014/main" id="{65443FDA-8612-9C53-D374-2878128478B8}"/>
              </a:ext>
            </a:extLst>
          </p:cNvPr>
          <p:cNvSpPr/>
          <p:nvPr/>
        </p:nvSpPr>
        <p:spPr>
          <a:xfrm>
            <a:off x="3251473" y="4787970"/>
            <a:ext cx="5291223" cy="766916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78306661-D63F-C519-3432-040FD9BFA111}"/>
              </a:ext>
            </a:extLst>
          </p:cNvPr>
          <p:cNvSpPr/>
          <p:nvPr/>
        </p:nvSpPr>
        <p:spPr>
          <a:xfrm>
            <a:off x="2683375" y="4760655"/>
            <a:ext cx="865238" cy="8404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0" name="ZoneTexte 59">
                <a:extLst>
                  <a:ext uri="{FF2B5EF4-FFF2-40B4-BE49-F238E27FC236}">
                    <a16:creationId xmlns:a16="http://schemas.microsoft.com/office/drawing/2014/main" id="{508FAD15-879D-1597-1344-37CBEA69CB32}"/>
                  </a:ext>
                </a:extLst>
              </p:cNvPr>
              <p:cNvSpPr txBox="1"/>
              <p:nvPr/>
            </p:nvSpPr>
            <p:spPr>
              <a:xfrm>
                <a:off x="3486344" y="4968067"/>
                <a:ext cx="4821479" cy="36981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𝑐h𝑒𝑠𝑡</m:t>
                          </m:r>
                        </m:sub>
                      </m:sSub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, </m:t>
                      </m:r>
                      <m:sSub>
                        <m:sSubPr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𝑐h𝑒𝑠𝑡</m:t>
                          </m:r>
                        </m:sub>
                      </m:sSub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, </m:t>
                      </m:r>
                      <m:sSub>
                        <m:sSubPr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𝑐h𝑒𝑠𝑡</m:t>
                          </m:r>
                        </m:sub>
                      </m:sSub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, </m:t>
                      </m:r>
                      <m:sSub>
                        <m:sSubPr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𝑎𝑛𝑘𝑙𝑒</m:t>
                          </m:r>
                        </m:sub>
                      </m:sSub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, </m:t>
                      </m:r>
                      <m:sSub>
                        <m:sSubPr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𝑎𝑛𝑘𝑙𝑒</m:t>
                          </m:r>
                        </m:sub>
                      </m:sSub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, </m:t>
                      </m:r>
                      <m:sSub>
                        <m:sSubPr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𝑎𝑛𝑘𝑙𝑒</m:t>
                          </m:r>
                        </m:sub>
                      </m:sSub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𝐸</m:t>
                      </m:r>
                    </m:oMath>
                  </m:oMathPara>
                </a14:m>
                <a:endParaRPr lang="en-GB" sz="1800"/>
              </a:p>
            </p:txBody>
          </p:sp>
        </mc:Choice>
        <mc:Fallback>
          <p:sp>
            <p:nvSpPr>
              <p:cNvPr id="60" name="ZoneTexte 59">
                <a:extLst>
                  <a:ext uri="{FF2B5EF4-FFF2-40B4-BE49-F238E27FC236}">
                    <a16:creationId xmlns:a16="http://schemas.microsoft.com/office/drawing/2014/main" id="{508FAD15-879D-1597-1344-37CBEA69CB3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86344" y="4968067"/>
                <a:ext cx="4821479" cy="369815"/>
              </a:xfrm>
              <a:prstGeom prst="rect">
                <a:avLst/>
              </a:prstGeom>
              <a:blipFill>
                <a:blip r:embed="rId7"/>
                <a:stretch>
                  <a:fillRect b="-491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3" name="Picture 2" descr="Simple computer screen icon computer #AD , #Affiliate, #sponsored, #computer,  #screen, #icon, #Simple | Screen icon, Computer logo, Camera illustration">
            <a:extLst>
              <a:ext uri="{FF2B5EF4-FFF2-40B4-BE49-F238E27FC236}">
                <a16:creationId xmlns:a16="http://schemas.microsoft.com/office/drawing/2014/main" id="{4D643F69-0937-4BFE-2D94-48ACB03A1E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0748" y="4606513"/>
            <a:ext cx="1261884" cy="1261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Graphique 63" descr="Nuage de points contour">
            <a:extLst>
              <a:ext uri="{FF2B5EF4-FFF2-40B4-BE49-F238E27FC236}">
                <a16:creationId xmlns:a16="http://schemas.microsoft.com/office/drawing/2014/main" id="{9F64DAD8-5B7E-91BE-6078-C6CCD8AF136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984264" y="4855548"/>
            <a:ext cx="594852" cy="594852"/>
          </a:xfrm>
          <a:prstGeom prst="rect">
            <a:avLst/>
          </a:prstGeom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A9B0EE87-F4EC-E29B-C503-ED11944156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8878" y="4906525"/>
            <a:ext cx="369736" cy="56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64069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/>
      <p:bldP spid="39" grpId="0"/>
      <p:bldP spid="40" grpId="0"/>
      <p:bldP spid="17" grpId="0"/>
      <p:bldP spid="54" grpId="0"/>
      <p:bldP spid="56" grpId="0"/>
      <p:bldP spid="61" grpId="0" animBg="1"/>
      <p:bldP spid="62" grpId="0" animBg="1"/>
      <p:bldP spid="6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LI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F2E72C8E09AA14B9F26CF4D3731D0D5" ma:contentTypeVersion="5" ma:contentTypeDescription="Creare un nuovo documento." ma:contentTypeScope="" ma:versionID="a42db915ded5ede29698205805e8f57f">
  <xsd:schema xmlns:xsd="http://www.w3.org/2001/XMLSchema" xmlns:xs="http://www.w3.org/2001/XMLSchema" xmlns:p="http://schemas.microsoft.com/office/2006/metadata/properties" xmlns:ns3="812800c2-d26e-4b61-ad11-398f9a621722" xmlns:ns4="d0ef4b71-36de-49bf-9e14-720f86da8947" targetNamespace="http://schemas.microsoft.com/office/2006/metadata/properties" ma:root="true" ma:fieldsID="b28690ba061d317f49757efdf19017e9" ns3:_="" ns4:_="">
    <xsd:import namespace="812800c2-d26e-4b61-ad11-398f9a621722"/>
    <xsd:import namespace="d0ef4b71-36de-49bf-9e14-720f86da894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2800c2-d26e-4b61-ad11-398f9a6217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ef4b71-36de-49bf-9e14-720f86da894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ash suggerimento condivisione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0E8613A-2C3E-4A5D-8819-67F53D6D32D9}">
  <ds:schemaRefs>
    <ds:schemaRef ds:uri="812800c2-d26e-4b61-ad11-398f9a621722"/>
    <ds:schemaRef ds:uri="d0ef4b71-36de-49bf-9e14-720f86da894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7EA6B39-05E7-46BA-8522-51FCE9B3DDA5}">
  <ds:schemaRefs>
    <ds:schemaRef ds:uri="812800c2-d26e-4b61-ad11-398f9a621722"/>
    <ds:schemaRef ds:uri="d0ef4b71-36de-49bf-9e14-720f86da894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AA1B601-3829-40BB-921D-89C3F9D21A9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21</Slides>
  <Notes>16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2" baseType="lpstr">
      <vt:lpstr>POLI</vt:lpstr>
      <vt:lpstr>Project 5: Sleep Position Classifier</vt:lpstr>
      <vt:lpstr>Introduction</vt:lpstr>
      <vt:lpstr>Project outline </vt:lpstr>
      <vt:lpstr>Hardware</vt:lpstr>
      <vt:lpstr>Hardware – Breadboard</vt:lpstr>
      <vt:lpstr>Hardware – Breadboard</vt:lpstr>
      <vt:lpstr>PCB &amp; Casing</vt:lpstr>
      <vt:lpstr>Hardware – Wearables</vt:lpstr>
      <vt:lpstr>FIFO, I2C and Bluetooth communication</vt:lpstr>
      <vt:lpstr>Data acquisition protocol</vt:lpstr>
      <vt:lpstr>GUI for data acquisition and visualization</vt:lpstr>
      <vt:lpstr>Datase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ject 5: Sleep Position Classifi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AIT ANALYSIS: Identificazione dei range di riferimento di cinematica e dinamica articolare in individui sani</dc:title>
  <dc:creator>Benedetta Garagiola</dc:creator>
  <cp:revision>1</cp:revision>
  <dcterms:created xsi:type="dcterms:W3CDTF">2020-05-24T07:09:13Z</dcterms:created>
  <dcterms:modified xsi:type="dcterms:W3CDTF">2022-07-14T08:0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2E72C8E09AA14B9F26CF4D3731D0D5</vt:lpwstr>
  </property>
</Properties>
</file>